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</p:sldMasterIdLst>
  <p:notesMasterIdLst>
    <p:notesMasterId r:id="rId16"/>
  </p:notesMasterIdLst>
  <p:sldIdLst>
    <p:sldId id="819" r:id="rId2"/>
    <p:sldId id="256" r:id="rId3"/>
    <p:sldId id="817" r:id="rId4"/>
    <p:sldId id="265" r:id="rId5"/>
    <p:sldId id="267" r:id="rId6"/>
    <p:sldId id="268" r:id="rId7"/>
    <p:sldId id="269" r:id="rId8"/>
    <p:sldId id="820" r:id="rId9"/>
    <p:sldId id="259" r:id="rId10"/>
    <p:sldId id="261" r:id="rId11"/>
    <p:sldId id="260" r:id="rId12"/>
    <p:sldId id="262" r:id="rId13"/>
    <p:sldId id="272" r:id="rId14"/>
    <p:sldId id="818" r:id="rId15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228AB2-2111-4202-9621-E8AE568A1F74}" v="1" dt="2021-10-13T18:00:33.47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4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03645-1F62-4CCF-9B21-95D65C7F9B90}" type="datetimeFigureOut">
              <a:rPr lang="nb-NO" smtClean="0"/>
              <a:t>15.10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9088EC-E413-464D-97EB-71E1CEAB13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10647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340B0F-F4AE-4178-91DB-DB4904767166}" type="slidenum">
              <a:rPr lang="nb-NO" smtClean="0"/>
              <a:pPr/>
              <a:t>1</a:t>
            </a:fld>
            <a:endParaRPr lang="nb-NO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abilde med bilde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tat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ne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FA590D-D460-44CC-95FE-6392A53434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932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87A34-81AB-432B-8DAE-1953F412C126}" type="datetimeFigureOut">
              <a:rPr lang="en-US" dirty="0"/>
              <a:t>10/15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dirty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0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8A87A34-81AB-432B-8DAE-1953F412C126}" type="datetimeFigureOut">
              <a:rPr lang="en-US" dirty="0"/>
              <a:pPr/>
              <a:t>10/15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D22F896-40B5-4ADD-8801-0D06FADFA095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60" r:id="rId10"/>
    <p:sldLayoutId id="2147483661" r:id="rId11"/>
    <p:sldLayoutId id="2147483666" r:id="rId12"/>
    <p:sldLayoutId id="2147483663" r:id="rId13"/>
    <p:sldLayoutId id="2147483667" r:id="rId14"/>
    <p:sldLayoutId id="2147483668" r:id="rId15"/>
    <p:sldLayoutId id="2147483658" r:id="rId16"/>
    <p:sldLayoutId id="2147483659" r:id="rId17"/>
    <p:sldLayoutId id="2147483669" r:id="rId18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18" Type="http://schemas.openxmlformats.org/officeDocument/2006/relationships/image" Target="../media/image19.svg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22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17" Type="http://schemas.openxmlformats.org/officeDocument/2006/relationships/image" Target="../media/image18.png"/><Relationship Id="rId2" Type="http://schemas.openxmlformats.org/officeDocument/2006/relationships/tags" Target="../tags/tag1.xml"/><Relationship Id="rId16" Type="http://schemas.openxmlformats.org/officeDocument/2006/relationships/image" Target="../media/image17.svg"/><Relationship Id="rId20" Type="http://schemas.openxmlformats.org/officeDocument/2006/relationships/image" Target="../media/image21.svg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5" Type="http://schemas.openxmlformats.org/officeDocument/2006/relationships/image" Target="../media/image6.emf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19" Type="http://schemas.openxmlformats.org/officeDocument/2006/relationships/image" Target="../media/image2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0.svg"/><Relationship Id="rId14" Type="http://schemas.openxmlformats.org/officeDocument/2006/relationships/image" Target="../media/image15.svg"/><Relationship Id="rId22" Type="http://schemas.openxmlformats.org/officeDocument/2006/relationships/image" Target="../media/image23.sv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2209800" y="692698"/>
            <a:ext cx="7772400" cy="1368151"/>
          </a:xfrm>
        </p:spPr>
        <p:txBody>
          <a:bodyPr>
            <a:normAutofit/>
          </a:bodyPr>
          <a:lstStyle/>
          <a:p>
            <a:pPr algn="ctr"/>
            <a:r>
              <a:rPr lang="nb-NO" sz="6600" b="1" dirty="0"/>
              <a:t>BERLEVÅG HAVN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2895600" y="2492896"/>
            <a:ext cx="6400800" cy="3145904"/>
          </a:xfrm>
        </p:spPr>
        <p:txBody>
          <a:bodyPr/>
          <a:lstStyle/>
          <a:p>
            <a:endParaRPr lang="nb-NO" dirty="0"/>
          </a:p>
          <a:p>
            <a:endParaRPr lang="nb-NO" dirty="0"/>
          </a:p>
        </p:txBody>
      </p:sp>
      <p:pic>
        <p:nvPicPr>
          <p:cNvPr id="15362" name="Picture 2" descr="C:\Users\bjornts\Desktop\Kommunevåpen Berlevåg kommune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55840" y="2420888"/>
            <a:ext cx="3168352" cy="3816424"/>
          </a:xfrm>
          <a:prstGeom prst="rect">
            <a:avLst/>
          </a:prstGeom>
          <a:noFill/>
        </p:spPr>
      </p:pic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CB409D-D484-4871-838C-92A9F6706174}" type="datetime1">
              <a:rPr lang="nb-NO" smtClean="0"/>
              <a:pPr/>
              <a:t>15.10.2021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BERLEVÅG HAVN KF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717E58-C3C1-425A-8F80-43A417CDC10E}" type="slidenum">
              <a:rPr lang="nb-NO" smtClean="0"/>
              <a:pPr/>
              <a:t>1</a:t>
            </a:fld>
            <a:endParaRPr lang="nb-NO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DA138A3-A2B7-4C12-82B6-7BC482A48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 BERLEVÅG HAV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00A608E-02FE-4BCD-A926-EC1A9A4AB7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C4D2C398-24AA-49B4-BA80-B2B874553451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391045" y="2587879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F42BFAC-84E8-46D9-B744-A78A50870A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" name="Plassholder for innhold 9" descr="Et bilde som inneholder tekst, natur&#10;&#10;Automatisk generert beskrivelse">
            <a:extLst>
              <a:ext uri="{FF2B5EF4-FFF2-40B4-BE49-F238E27FC236}">
                <a16:creationId xmlns:a16="http://schemas.microsoft.com/office/drawing/2014/main" id="{032B111A-D328-418A-8EA0-C04EAADBF6A9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6661632" y="2587879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2628317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2174EF1-C9C2-40C0-BF81-637D10F38D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 BERLEVÅG HAV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57F0041-E55C-467B-B6EE-83FB2771024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Plassholder for innhold 7" descr="Et bilde som inneholder tekst&#10;&#10;Automatisk generert beskrivelse">
            <a:extLst>
              <a:ext uri="{FF2B5EF4-FFF2-40B4-BE49-F238E27FC236}">
                <a16:creationId xmlns:a16="http://schemas.microsoft.com/office/drawing/2014/main" id="{35D4F968-1A9E-44E8-8E86-122D4D1BFEF7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391045" y="2514400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1EBA77E8-922A-4E93-8CEA-5CF2A8C9D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" name="Plassholder for innhold 9" descr="Et bilde som inneholder utendørs&#10;&#10;Automatisk generert beskrivelse">
            <a:extLst>
              <a:ext uri="{FF2B5EF4-FFF2-40B4-BE49-F238E27FC236}">
                <a16:creationId xmlns:a16="http://schemas.microsoft.com/office/drawing/2014/main" id="{9D9990A3-3F78-40EC-A751-4C3058015B2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6459728" y="2545206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34841709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D7EF68B-460F-40D6-9823-CB35E7019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775" y="146305"/>
            <a:ext cx="10364451" cy="1328927"/>
          </a:xfrm>
        </p:spPr>
        <p:txBody>
          <a:bodyPr/>
          <a:lstStyle/>
          <a:p>
            <a:r>
              <a:rPr lang="nb-NO" dirty="0"/>
              <a:t>NY BERLEVÅG HAV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2A7FCC5-02C9-484A-BDF2-D5A76B5C02B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1604CBB-43FD-4640-90B5-69A97EB981E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0292255-30FF-412B-AC26-D38CADD147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A7F01496-D98B-4AB1-82AC-176995AB78CB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2371344" y="1877568"/>
            <a:ext cx="7156704" cy="4380203"/>
          </a:xfrm>
          <a:prstGeom prst="rect">
            <a:avLst/>
          </a:prstGeom>
          <a:solidFill>
            <a:srgbClr val="000000">
              <a:shade val="95000"/>
            </a:srgbClr>
          </a:solidFill>
          <a:ln w="444500" cap="sq">
            <a:solidFill>
              <a:srgbClr val="000000"/>
            </a:solidFill>
            <a:miter lim="800000"/>
          </a:ln>
          <a:effectLst>
            <a:outerShdw blurRad="254000" dist="190500" dir="2700000" sy="90000" algn="b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57346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FED90C-6525-47FE-BFBA-9496FD4A6D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ERLEVÅG NYE HAV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6C4ADB0-FCF7-4765-BB57-3E425757642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3774" y="1883664"/>
            <a:ext cx="10363826" cy="4355819"/>
          </a:xfrm>
        </p:spPr>
        <p:txBody>
          <a:bodyPr>
            <a:normAutofit lnSpcReduction="10000"/>
          </a:bodyPr>
          <a:lstStyle/>
          <a:p>
            <a:r>
              <a:rPr lang="nb-NO" dirty="0"/>
              <a:t>UTDYPING</a:t>
            </a:r>
          </a:p>
          <a:p>
            <a:pPr lvl="1"/>
            <a:r>
              <a:rPr lang="nb-NO" dirty="0"/>
              <a:t>FARLED (KYSTVERKET/STATEN)</a:t>
            </a:r>
          </a:p>
          <a:p>
            <a:r>
              <a:rPr lang="nb-NO" dirty="0"/>
              <a:t>FINANSIERING</a:t>
            </a:r>
          </a:p>
          <a:p>
            <a:pPr lvl="1"/>
            <a:r>
              <a:rPr lang="nb-NO" dirty="0"/>
              <a:t>REGION for fiskerihavner (OVERFØRES STATEN??)</a:t>
            </a:r>
          </a:p>
          <a:p>
            <a:pPr lvl="1"/>
            <a:r>
              <a:rPr lang="nb-NO" dirty="0"/>
              <a:t>NTP/STATEN for gods</a:t>
            </a:r>
          </a:p>
          <a:p>
            <a:pPr lvl="1"/>
            <a:r>
              <a:rPr lang="nb-NO" dirty="0"/>
              <a:t>EGEN ORDNING FOR HYDROGENKNUTEPUNKT??</a:t>
            </a:r>
          </a:p>
          <a:p>
            <a:r>
              <a:rPr lang="nb-NO" dirty="0"/>
              <a:t>EIERFORHOLD</a:t>
            </a:r>
          </a:p>
          <a:p>
            <a:pPr lvl="1"/>
            <a:r>
              <a:rPr lang="nb-NO" dirty="0"/>
              <a:t>KAIER</a:t>
            </a:r>
          </a:p>
          <a:p>
            <a:pPr lvl="1"/>
            <a:r>
              <a:rPr lang="nb-NO" dirty="0"/>
              <a:t>AREAL</a:t>
            </a:r>
          </a:p>
          <a:p>
            <a:pPr lvl="1"/>
            <a:r>
              <a:rPr lang="nb-NO" dirty="0"/>
              <a:t>TERMINALER</a:t>
            </a:r>
          </a:p>
          <a:p>
            <a:pPr lvl="2"/>
            <a:r>
              <a:rPr lang="nb-NO" dirty="0"/>
              <a:t>SAMARBEID MED ULIKE AKTØRER/BRUKERE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08182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B9103B0-CE9E-42D1-941C-0160562F3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794" y="4084320"/>
            <a:ext cx="10364432" cy="798576"/>
          </a:xfrm>
        </p:spPr>
        <p:txBody>
          <a:bodyPr/>
          <a:lstStyle/>
          <a:p>
            <a:r>
              <a:rPr lang="nb-NO" dirty="0">
                <a:solidFill>
                  <a:srgbClr val="FF0000"/>
                </a:solidFill>
              </a:rPr>
              <a:t>TAKK FOR OPPMERKSOMHETEN</a:t>
            </a:r>
          </a:p>
        </p:txBody>
      </p:sp>
      <p:pic>
        <p:nvPicPr>
          <p:cNvPr id="6" name="Plassholder for bilde 5">
            <a:extLst>
              <a:ext uri="{FF2B5EF4-FFF2-40B4-BE49-F238E27FC236}">
                <a16:creationId xmlns:a16="http://schemas.microsoft.com/office/drawing/2014/main" id="{B7F5A659-C239-481D-B1F3-438D2D1BFCBB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2"/>
          <a:srcRect t="23820" b="23820"/>
          <a:stretch>
            <a:fillRect/>
          </a:stretch>
        </p:blipFill>
        <p:spPr>
          <a:xfrm>
            <a:off x="1184734" y="757268"/>
            <a:ext cx="9822532" cy="3214136"/>
          </a:xfr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43988AE-2633-4C03-BFC9-F8FFFD5726CA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nb-NO" dirty="0"/>
              <a:t>BERLEVÅG HAVN</a:t>
            </a:r>
          </a:p>
        </p:txBody>
      </p:sp>
    </p:spTree>
    <p:extLst>
      <p:ext uri="{BB962C8B-B14F-4D97-AF65-F5344CB8AC3E}">
        <p14:creationId xmlns:p14="http://schemas.microsoft.com/office/powerpoint/2010/main" val="3192750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41C14A6-7FB8-4714-918E-6E8D93CCEEF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BERLEVÅG HAVN KF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EE8CC907-FF18-4F8E-BE22-D05CE36BEB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PLANLEGGING NY HAVN 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7077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3ABA41E-4FE2-45CF-A37D-8935E890A6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3ABA41E-4FE2-45CF-A37D-8935E890A6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5" name="Rectangle 354">
            <a:extLst>
              <a:ext uri="{FF2B5EF4-FFF2-40B4-BE49-F238E27FC236}">
                <a16:creationId xmlns:a16="http://schemas.microsoft.com/office/drawing/2014/main" id="{650CEF0B-3CC9-439C-9AE6-C51ABBC7961C}"/>
              </a:ext>
            </a:extLst>
          </p:cNvPr>
          <p:cNvSpPr/>
          <p:nvPr/>
        </p:nvSpPr>
        <p:spPr>
          <a:xfrm>
            <a:off x="5672662" y="-17756"/>
            <a:ext cx="6568108" cy="726643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A513F42-4CCC-42FA-B643-231251645268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70000"/>
          </a:blip>
          <a:srcRect r="6161"/>
          <a:stretch/>
        </p:blipFill>
        <p:spPr>
          <a:xfrm>
            <a:off x="5691301" y="-6096"/>
            <a:ext cx="6507136" cy="6858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313E5B2-CB19-4CC0-8967-35B28140630F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4D3366">
                  <a:alpha val="50196"/>
                </a:srgbClr>
              </a:clrFrom>
              <a:clrTo>
                <a:srgbClr val="4D3366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37979" y="1952513"/>
            <a:ext cx="4121253" cy="4869095"/>
          </a:xfrm>
          <a:prstGeom prst="rect">
            <a:avLst/>
          </a:prstGeom>
          <a:noFill/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CC08126-CC5E-4F1B-A146-0FE7B0869BBA}"/>
              </a:ext>
            </a:extLst>
          </p:cNvPr>
          <p:cNvSpPr/>
          <p:nvPr/>
        </p:nvSpPr>
        <p:spPr>
          <a:xfrm>
            <a:off x="-48768" y="-6096"/>
            <a:ext cx="5733632" cy="7266432"/>
          </a:xfrm>
          <a:prstGeom prst="rect">
            <a:avLst/>
          </a:prstGeom>
          <a:solidFill>
            <a:srgbClr val="FFFFFF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55" name="Title 1">
            <a:extLst>
              <a:ext uri="{FF2B5EF4-FFF2-40B4-BE49-F238E27FC236}">
                <a16:creationId xmlns:a16="http://schemas.microsoft.com/office/drawing/2014/main" id="{F688A011-02D7-4B9A-A2D3-1C6F8E088DD2}"/>
              </a:ext>
            </a:extLst>
          </p:cNvPr>
          <p:cNvSpPr txBox="1">
            <a:spLocks/>
          </p:cNvSpPr>
          <p:nvPr/>
        </p:nvSpPr>
        <p:spPr>
          <a:xfrm>
            <a:off x="431804" y="211666"/>
            <a:ext cx="11328395" cy="831852"/>
          </a:xfrm>
          <a:prstGeom prst="rect">
            <a:avLst/>
          </a:prstGeom>
        </p:spPr>
        <p:txBody>
          <a:bodyPr anchor="ctr"/>
          <a:lstStyle>
            <a:lvl1pPr algn="l" defTabSz="457070" rtl="0" eaLnBrk="1" latinLnBrk="0" hangingPunct="1">
              <a:spcBef>
                <a:spcPct val="0"/>
              </a:spcBef>
              <a:buNone/>
              <a:defRPr sz="3600" b="0" i="0" kern="1200">
                <a:solidFill>
                  <a:schemeClr val="tx2"/>
                </a:solidFill>
                <a:latin typeface="Lato Black"/>
                <a:ea typeface="+mj-ea"/>
                <a:cs typeface="Lato Black"/>
              </a:defRPr>
            </a:lvl1pPr>
          </a:lstStyle>
          <a:p>
            <a:r>
              <a:rPr lang="nb-NO" sz="3200" dirty="0"/>
              <a:t>Masterplan BIP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685D628-36CF-45E7-B970-5DFAE2C307BA}"/>
              </a:ext>
            </a:extLst>
          </p:cNvPr>
          <p:cNvSpPr/>
          <p:nvPr/>
        </p:nvSpPr>
        <p:spPr>
          <a:xfrm rot="19394043">
            <a:off x="10400055" y="1186124"/>
            <a:ext cx="1601071" cy="3116905"/>
          </a:xfrm>
          <a:custGeom>
            <a:avLst/>
            <a:gdLst>
              <a:gd name="connsiteX0" fmla="*/ 0 w 122147"/>
              <a:gd name="connsiteY0" fmla="*/ 0 h 120933"/>
              <a:gd name="connsiteX1" fmla="*/ 122147 w 122147"/>
              <a:gd name="connsiteY1" fmla="*/ 0 h 120933"/>
              <a:gd name="connsiteX2" fmla="*/ 122147 w 122147"/>
              <a:gd name="connsiteY2" fmla="*/ 120933 h 120933"/>
              <a:gd name="connsiteX3" fmla="*/ 0 w 122147"/>
              <a:gd name="connsiteY3" fmla="*/ 120933 h 120933"/>
              <a:gd name="connsiteX4" fmla="*/ 0 w 122147"/>
              <a:gd name="connsiteY4" fmla="*/ 0 h 120933"/>
              <a:gd name="connsiteX0" fmla="*/ 76549 w 198696"/>
              <a:gd name="connsiteY0" fmla="*/ 0 h 191557"/>
              <a:gd name="connsiteX1" fmla="*/ 198696 w 198696"/>
              <a:gd name="connsiteY1" fmla="*/ 0 h 191557"/>
              <a:gd name="connsiteX2" fmla="*/ 198696 w 198696"/>
              <a:gd name="connsiteY2" fmla="*/ 120933 h 191557"/>
              <a:gd name="connsiteX3" fmla="*/ 0 w 198696"/>
              <a:gd name="connsiteY3" fmla="*/ 191557 h 191557"/>
              <a:gd name="connsiteX4" fmla="*/ 76549 w 198696"/>
              <a:gd name="connsiteY4" fmla="*/ 0 h 191557"/>
              <a:gd name="connsiteX0" fmla="*/ 86109 w 198696"/>
              <a:gd name="connsiteY0" fmla="*/ 19032 h 191557"/>
              <a:gd name="connsiteX1" fmla="*/ 198696 w 198696"/>
              <a:gd name="connsiteY1" fmla="*/ 0 h 191557"/>
              <a:gd name="connsiteX2" fmla="*/ 198696 w 198696"/>
              <a:gd name="connsiteY2" fmla="*/ 120933 h 191557"/>
              <a:gd name="connsiteX3" fmla="*/ 0 w 198696"/>
              <a:gd name="connsiteY3" fmla="*/ 191557 h 191557"/>
              <a:gd name="connsiteX4" fmla="*/ 86109 w 198696"/>
              <a:gd name="connsiteY4" fmla="*/ 19032 h 191557"/>
              <a:gd name="connsiteX0" fmla="*/ 86109 w 198696"/>
              <a:gd name="connsiteY0" fmla="*/ 19032 h 287376"/>
              <a:gd name="connsiteX1" fmla="*/ 198696 w 198696"/>
              <a:gd name="connsiteY1" fmla="*/ 0 h 287376"/>
              <a:gd name="connsiteX2" fmla="*/ 71363 w 198696"/>
              <a:gd name="connsiteY2" fmla="*/ 287376 h 287376"/>
              <a:gd name="connsiteX3" fmla="*/ 0 w 198696"/>
              <a:gd name="connsiteY3" fmla="*/ 191557 h 287376"/>
              <a:gd name="connsiteX4" fmla="*/ 86109 w 198696"/>
              <a:gd name="connsiteY4" fmla="*/ 19032 h 287376"/>
              <a:gd name="connsiteX0" fmla="*/ 86109 w 273567"/>
              <a:gd name="connsiteY0" fmla="*/ 0 h 298491"/>
              <a:gd name="connsiteX1" fmla="*/ 273567 w 273567"/>
              <a:gd name="connsiteY1" fmla="*/ 298491 h 298491"/>
              <a:gd name="connsiteX2" fmla="*/ 71363 w 273567"/>
              <a:gd name="connsiteY2" fmla="*/ 268344 h 298491"/>
              <a:gd name="connsiteX3" fmla="*/ 0 w 273567"/>
              <a:gd name="connsiteY3" fmla="*/ 172525 h 298491"/>
              <a:gd name="connsiteX4" fmla="*/ 86109 w 273567"/>
              <a:gd name="connsiteY4" fmla="*/ 0 h 298491"/>
              <a:gd name="connsiteX0" fmla="*/ 86109 w 273567"/>
              <a:gd name="connsiteY0" fmla="*/ 0 h 298491"/>
              <a:gd name="connsiteX1" fmla="*/ 273567 w 273567"/>
              <a:gd name="connsiteY1" fmla="*/ 298491 h 298491"/>
              <a:gd name="connsiteX2" fmla="*/ 151210 w 273567"/>
              <a:gd name="connsiteY2" fmla="*/ 281946 h 298491"/>
              <a:gd name="connsiteX3" fmla="*/ 71363 w 273567"/>
              <a:gd name="connsiteY3" fmla="*/ 268344 h 298491"/>
              <a:gd name="connsiteX4" fmla="*/ 0 w 273567"/>
              <a:gd name="connsiteY4" fmla="*/ 172525 h 298491"/>
              <a:gd name="connsiteX5" fmla="*/ 86109 w 273567"/>
              <a:gd name="connsiteY5" fmla="*/ 0 h 298491"/>
              <a:gd name="connsiteX0" fmla="*/ 86109 w 461514"/>
              <a:gd name="connsiteY0" fmla="*/ 0 h 1215311"/>
              <a:gd name="connsiteX1" fmla="*/ 273567 w 461514"/>
              <a:gd name="connsiteY1" fmla="*/ 298491 h 1215311"/>
              <a:gd name="connsiteX2" fmla="*/ 461514 w 461514"/>
              <a:gd name="connsiteY2" fmla="*/ 1215311 h 1215311"/>
              <a:gd name="connsiteX3" fmla="*/ 71363 w 461514"/>
              <a:gd name="connsiteY3" fmla="*/ 268344 h 1215311"/>
              <a:gd name="connsiteX4" fmla="*/ 0 w 461514"/>
              <a:gd name="connsiteY4" fmla="*/ 172525 h 1215311"/>
              <a:gd name="connsiteX5" fmla="*/ 86109 w 461514"/>
              <a:gd name="connsiteY5" fmla="*/ 0 h 1215311"/>
              <a:gd name="connsiteX0" fmla="*/ 86109 w 461514"/>
              <a:gd name="connsiteY0" fmla="*/ 0 h 1215311"/>
              <a:gd name="connsiteX1" fmla="*/ 273567 w 461514"/>
              <a:gd name="connsiteY1" fmla="*/ 298491 h 1215311"/>
              <a:gd name="connsiteX2" fmla="*/ 313024 w 461514"/>
              <a:gd name="connsiteY2" fmla="*/ 483105 h 1215311"/>
              <a:gd name="connsiteX3" fmla="*/ 461514 w 461514"/>
              <a:gd name="connsiteY3" fmla="*/ 1215311 h 1215311"/>
              <a:gd name="connsiteX4" fmla="*/ 71363 w 461514"/>
              <a:gd name="connsiteY4" fmla="*/ 268344 h 1215311"/>
              <a:gd name="connsiteX5" fmla="*/ 0 w 461514"/>
              <a:gd name="connsiteY5" fmla="*/ 172525 h 1215311"/>
              <a:gd name="connsiteX6" fmla="*/ 86109 w 461514"/>
              <a:gd name="connsiteY6" fmla="*/ 0 h 1215311"/>
              <a:gd name="connsiteX0" fmla="*/ 86109 w 461514"/>
              <a:gd name="connsiteY0" fmla="*/ 0 h 1215311"/>
              <a:gd name="connsiteX1" fmla="*/ 273567 w 461514"/>
              <a:gd name="connsiteY1" fmla="*/ 298491 h 1215311"/>
              <a:gd name="connsiteX2" fmla="*/ 368567 w 461514"/>
              <a:gd name="connsiteY2" fmla="*/ 384897 h 1215311"/>
              <a:gd name="connsiteX3" fmla="*/ 461514 w 461514"/>
              <a:gd name="connsiteY3" fmla="*/ 1215311 h 1215311"/>
              <a:gd name="connsiteX4" fmla="*/ 71363 w 461514"/>
              <a:gd name="connsiteY4" fmla="*/ 268344 h 1215311"/>
              <a:gd name="connsiteX5" fmla="*/ 0 w 461514"/>
              <a:gd name="connsiteY5" fmla="*/ 172525 h 1215311"/>
              <a:gd name="connsiteX6" fmla="*/ 86109 w 461514"/>
              <a:gd name="connsiteY6" fmla="*/ 0 h 1215311"/>
              <a:gd name="connsiteX0" fmla="*/ 86109 w 461514"/>
              <a:gd name="connsiteY0" fmla="*/ 0 h 1215311"/>
              <a:gd name="connsiteX1" fmla="*/ 273567 w 461514"/>
              <a:gd name="connsiteY1" fmla="*/ 298491 h 1215311"/>
              <a:gd name="connsiteX2" fmla="*/ 368567 w 461514"/>
              <a:gd name="connsiteY2" fmla="*/ 384897 h 1215311"/>
              <a:gd name="connsiteX3" fmla="*/ 443540 w 461514"/>
              <a:gd name="connsiteY3" fmla="*/ 1020556 h 1215311"/>
              <a:gd name="connsiteX4" fmla="*/ 461514 w 461514"/>
              <a:gd name="connsiteY4" fmla="*/ 1215311 h 1215311"/>
              <a:gd name="connsiteX5" fmla="*/ 71363 w 461514"/>
              <a:gd name="connsiteY5" fmla="*/ 268344 h 1215311"/>
              <a:gd name="connsiteX6" fmla="*/ 0 w 461514"/>
              <a:gd name="connsiteY6" fmla="*/ 172525 h 1215311"/>
              <a:gd name="connsiteX7" fmla="*/ 86109 w 461514"/>
              <a:gd name="connsiteY7" fmla="*/ 0 h 1215311"/>
              <a:gd name="connsiteX0" fmla="*/ 86109 w 526697"/>
              <a:gd name="connsiteY0" fmla="*/ 0 h 1442363"/>
              <a:gd name="connsiteX1" fmla="*/ 273567 w 526697"/>
              <a:gd name="connsiteY1" fmla="*/ 298491 h 1442363"/>
              <a:gd name="connsiteX2" fmla="*/ 368567 w 526697"/>
              <a:gd name="connsiteY2" fmla="*/ 384897 h 1442363"/>
              <a:gd name="connsiteX3" fmla="*/ 526697 w 526697"/>
              <a:gd name="connsiteY3" fmla="*/ 1442363 h 1442363"/>
              <a:gd name="connsiteX4" fmla="*/ 461514 w 526697"/>
              <a:gd name="connsiteY4" fmla="*/ 1215311 h 1442363"/>
              <a:gd name="connsiteX5" fmla="*/ 71363 w 526697"/>
              <a:gd name="connsiteY5" fmla="*/ 268344 h 1442363"/>
              <a:gd name="connsiteX6" fmla="*/ 0 w 526697"/>
              <a:gd name="connsiteY6" fmla="*/ 172525 h 1442363"/>
              <a:gd name="connsiteX7" fmla="*/ 86109 w 526697"/>
              <a:gd name="connsiteY7" fmla="*/ 0 h 1442363"/>
              <a:gd name="connsiteX0" fmla="*/ 86109 w 526697"/>
              <a:gd name="connsiteY0" fmla="*/ 0 h 1442363"/>
              <a:gd name="connsiteX1" fmla="*/ 273567 w 526697"/>
              <a:gd name="connsiteY1" fmla="*/ 298491 h 1442363"/>
              <a:gd name="connsiteX2" fmla="*/ 526697 w 526697"/>
              <a:gd name="connsiteY2" fmla="*/ 1442363 h 1442363"/>
              <a:gd name="connsiteX3" fmla="*/ 461514 w 526697"/>
              <a:gd name="connsiteY3" fmla="*/ 1215311 h 1442363"/>
              <a:gd name="connsiteX4" fmla="*/ 71363 w 526697"/>
              <a:gd name="connsiteY4" fmla="*/ 268344 h 1442363"/>
              <a:gd name="connsiteX5" fmla="*/ 0 w 526697"/>
              <a:gd name="connsiteY5" fmla="*/ 172525 h 1442363"/>
              <a:gd name="connsiteX6" fmla="*/ 86109 w 526697"/>
              <a:gd name="connsiteY6" fmla="*/ 0 h 1442363"/>
              <a:gd name="connsiteX0" fmla="*/ 86109 w 526697"/>
              <a:gd name="connsiteY0" fmla="*/ 0 h 1442363"/>
              <a:gd name="connsiteX1" fmla="*/ 273567 w 526697"/>
              <a:gd name="connsiteY1" fmla="*/ 298491 h 1442363"/>
              <a:gd name="connsiteX2" fmla="*/ 380201 w 526697"/>
              <a:gd name="connsiteY2" fmla="*/ 759209 h 1442363"/>
              <a:gd name="connsiteX3" fmla="*/ 526697 w 526697"/>
              <a:gd name="connsiteY3" fmla="*/ 1442363 h 1442363"/>
              <a:gd name="connsiteX4" fmla="*/ 461514 w 526697"/>
              <a:gd name="connsiteY4" fmla="*/ 1215311 h 1442363"/>
              <a:gd name="connsiteX5" fmla="*/ 71363 w 526697"/>
              <a:gd name="connsiteY5" fmla="*/ 268344 h 1442363"/>
              <a:gd name="connsiteX6" fmla="*/ 0 w 526697"/>
              <a:gd name="connsiteY6" fmla="*/ 172525 h 1442363"/>
              <a:gd name="connsiteX7" fmla="*/ 86109 w 526697"/>
              <a:gd name="connsiteY7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526697 w 868803"/>
              <a:gd name="connsiteY3" fmla="*/ 1442363 h 1442363"/>
              <a:gd name="connsiteX4" fmla="*/ 461514 w 868803"/>
              <a:gd name="connsiteY4" fmla="*/ 1215311 h 1442363"/>
              <a:gd name="connsiteX5" fmla="*/ 71363 w 868803"/>
              <a:gd name="connsiteY5" fmla="*/ 268344 h 1442363"/>
              <a:gd name="connsiteX6" fmla="*/ 0 w 868803"/>
              <a:gd name="connsiteY6" fmla="*/ 172525 h 1442363"/>
              <a:gd name="connsiteX7" fmla="*/ 86109 w 868803"/>
              <a:gd name="connsiteY7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692038 w 868803"/>
              <a:gd name="connsiteY3" fmla="*/ 962479 h 1442363"/>
              <a:gd name="connsiteX4" fmla="*/ 526697 w 868803"/>
              <a:gd name="connsiteY4" fmla="*/ 1442363 h 1442363"/>
              <a:gd name="connsiteX5" fmla="*/ 461514 w 868803"/>
              <a:gd name="connsiteY5" fmla="*/ 1215311 h 1442363"/>
              <a:gd name="connsiteX6" fmla="*/ 71363 w 868803"/>
              <a:gd name="connsiteY6" fmla="*/ 268344 h 1442363"/>
              <a:gd name="connsiteX7" fmla="*/ 0 w 868803"/>
              <a:gd name="connsiteY7" fmla="*/ 172525 h 1442363"/>
              <a:gd name="connsiteX8" fmla="*/ 86109 w 868803"/>
              <a:gd name="connsiteY8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459463 w 868803"/>
              <a:gd name="connsiteY3" fmla="*/ 871937 h 1442363"/>
              <a:gd name="connsiteX4" fmla="*/ 526697 w 868803"/>
              <a:gd name="connsiteY4" fmla="*/ 1442363 h 1442363"/>
              <a:gd name="connsiteX5" fmla="*/ 461514 w 868803"/>
              <a:gd name="connsiteY5" fmla="*/ 1215311 h 1442363"/>
              <a:gd name="connsiteX6" fmla="*/ 71363 w 868803"/>
              <a:gd name="connsiteY6" fmla="*/ 268344 h 1442363"/>
              <a:gd name="connsiteX7" fmla="*/ 0 w 868803"/>
              <a:gd name="connsiteY7" fmla="*/ 172525 h 1442363"/>
              <a:gd name="connsiteX8" fmla="*/ 86109 w 868803"/>
              <a:gd name="connsiteY8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459463 w 868803"/>
              <a:gd name="connsiteY3" fmla="*/ 871937 h 1442363"/>
              <a:gd name="connsiteX4" fmla="*/ 486515 w 868803"/>
              <a:gd name="connsiteY4" fmla="*/ 1082391 h 1442363"/>
              <a:gd name="connsiteX5" fmla="*/ 526697 w 868803"/>
              <a:gd name="connsiteY5" fmla="*/ 1442363 h 1442363"/>
              <a:gd name="connsiteX6" fmla="*/ 461514 w 868803"/>
              <a:gd name="connsiteY6" fmla="*/ 1215311 h 1442363"/>
              <a:gd name="connsiteX7" fmla="*/ 71363 w 868803"/>
              <a:gd name="connsiteY7" fmla="*/ 268344 h 1442363"/>
              <a:gd name="connsiteX8" fmla="*/ 0 w 868803"/>
              <a:gd name="connsiteY8" fmla="*/ 172525 h 1442363"/>
              <a:gd name="connsiteX9" fmla="*/ 86109 w 868803"/>
              <a:gd name="connsiteY9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459463 w 868803"/>
              <a:gd name="connsiteY3" fmla="*/ 871937 h 1442363"/>
              <a:gd name="connsiteX4" fmla="*/ 827383 w 868803"/>
              <a:gd name="connsiteY4" fmla="*/ 1274654 h 1442363"/>
              <a:gd name="connsiteX5" fmla="*/ 526697 w 868803"/>
              <a:gd name="connsiteY5" fmla="*/ 1442363 h 1442363"/>
              <a:gd name="connsiteX6" fmla="*/ 461514 w 868803"/>
              <a:gd name="connsiteY6" fmla="*/ 1215311 h 1442363"/>
              <a:gd name="connsiteX7" fmla="*/ 71363 w 868803"/>
              <a:gd name="connsiteY7" fmla="*/ 268344 h 1442363"/>
              <a:gd name="connsiteX8" fmla="*/ 0 w 868803"/>
              <a:gd name="connsiteY8" fmla="*/ 172525 h 1442363"/>
              <a:gd name="connsiteX9" fmla="*/ 86109 w 868803"/>
              <a:gd name="connsiteY9" fmla="*/ 0 h 1442363"/>
              <a:gd name="connsiteX0" fmla="*/ 86109 w 868803"/>
              <a:gd name="connsiteY0" fmla="*/ 0 h 1442363"/>
              <a:gd name="connsiteX1" fmla="*/ 273567 w 868803"/>
              <a:gd name="connsiteY1" fmla="*/ 298491 h 1442363"/>
              <a:gd name="connsiteX2" fmla="*/ 868803 w 868803"/>
              <a:gd name="connsiteY2" fmla="*/ 479239 h 1442363"/>
              <a:gd name="connsiteX3" fmla="*/ 459463 w 868803"/>
              <a:gd name="connsiteY3" fmla="*/ 871937 h 1442363"/>
              <a:gd name="connsiteX4" fmla="*/ 827383 w 868803"/>
              <a:gd name="connsiteY4" fmla="*/ 1274654 h 1442363"/>
              <a:gd name="connsiteX5" fmla="*/ 636596 w 868803"/>
              <a:gd name="connsiteY5" fmla="*/ 1378822 h 1442363"/>
              <a:gd name="connsiteX6" fmla="*/ 526697 w 868803"/>
              <a:gd name="connsiteY6" fmla="*/ 1442363 h 1442363"/>
              <a:gd name="connsiteX7" fmla="*/ 461514 w 868803"/>
              <a:gd name="connsiteY7" fmla="*/ 1215311 h 1442363"/>
              <a:gd name="connsiteX8" fmla="*/ 71363 w 868803"/>
              <a:gd name="connsiteY8" fmla="*/ 268344 h 1442363"/>
              <a:gd name="connsiteX9" fmla="*/ 0 w 868803"/>
              <a:gd name="connsiteY9" fmla="*/ 172525 h 1442363"/>
              <a:gd name="connsiteX10" fmla="*/ 86109 w 868803"/>
              <a:gd name="connsiteY10" fmla="*/ 0 h 1442363"/>
              <a:gd name="connsiteX0" fmla="*/ 86109 w 894776"/>
              <a:gd name="connsiteY0" fmla="*/ 0 h 1669819"/>
              <a:gd name="connsiteX1" fmla="*/ 273567 w 894776"/>
              <a:gd name="connsiteY1" fmla="*/ 298491 h 1669819"/>
              <a:gd name="connsiteX2" fmla="*/ 868803 w 894776"/>
              <a:gd name="connsiteY2" fmla="*/ 479239 h 1669819"/>
              <a:gd name="connsiteX3" fmla="*/ 459463 w 894776"/>
              <a:gd name="connsiteY3" fmla="*/ 871937 h 1669819"/>
              <a:gd name="connsiteX4" fmla="*/ 827383 w 894776"/>
              <a:gd name="connsiteY4" fmla="*/ 1274654 h 1669819"/>
              <a:gd name="connsiteX5" fmla="*/ 894776 w 894776"/>
              <a:gd name="connsiteY5" fmla="*/ 1669819 h 1669819"/>
              <a:gd name="connsiteX6" fmla="*/ 526697 w 894776"/>
              <a:gd name="connsiteY6" fmla="*/ 1442363 h 1669819"/>
              <a:gd name="connsiteX7" fmla="*/ 461514 w 894776"/>
              <a:gd name="connsiteY7" fmla="*/ 1215311 h 1669819"/>
              <a:gd name="connsiteX8" fmla="*/ 71363 w 894776"/>
              <a:gd name="connsiteY8" fmla="*/ 268344 h 1669819"/>
              <a:gd name="connsiteX9" fmla="*/ 0 w 894776"/>
              <a:gd name="connsiteY9" fmla="*/ 172525 h 1669819"/>
              <a:gd name="connsiteX10" fmla="*/ 86109 w 894776"/>
              <a:gd name="connsiteY10" fmla="*/ 0 h 1669819"/>
              <a:gd name="connsiteX0" fmla="*/ 86109 w 894776"/>
              <a:gd name="connsiteY0" fmla="*/ 0 h 1669819"/>
              <a:gd name="connsiteX1" fmla="*/ 273567 w 894776"/>
              <a:gd name="connsiteY1" fmla="*/ 298491 h 1669819"/>
              <a:gd name="connsiteX2" fmla="*/ 868803 w 894776"/>
              <a:gd name="connsiteY2" fmla="*/ 479239 h 1669819"/>
              <a:gd name="connsiteX3" fmla="*/ 459463 w 894776"/>
              <a:gd name="connsiteY3" fmla="*/ 871937 h 1669819"/>
              <a:gd name="connsiteX4" fmla="*/ 827383 w 894776"/>
              <a:gd name="connsiteY4" fmla="*/ 1274654 h 1669819"/>
              <a:gd name="connsiteX5" fmla="*/ 894776 w 894776"/>
              <a:gd name="connsiteY5" fmla="*/ 1669819 h 1669819"/>
              <a:gd name="connsiteX6" fmla="*/ 645406 w 894776"/>
              <a:gd name="connsiteY6" fmla="*/ 1510251 h 1669819"/>
              <a:gd name="connsiteX7" fmla="*/ 526697 w 894776"/>
              <a:gd name="connsiteY7" fmla="*/ 1442363 h 1669819"/>
              <a:gd name="connsiteX8" fmla="*/ 461514 w 894776"/>
              <a:gd name="connsiteY8" fmla="*/ 1215311 h 1669819"/>
              <a:gd name="connsiteX9" fmla="*/ 71363 w 894776"/>
              <a:gd name="connsiteY9" fmla="*/ 268344 h 1669819"/>
              <a:gd name="connsiteX10" fmla="*/ 0 w 894776"/>
              <a:gd name="connsiteY10" fmla="*/ 172525 h 1669819"/>
              <a:gd name="connsiteX11" fmla="*/ 86109 w 894776"/>
              <a:gd name="connsiteY11" fmla="*/ 0 h 1669819"/>
              <a:gd name="connsiteX0" fmla="*/ 86109 w 894776"/>
              <a:gd name="connsiteY0" fmla="*/ 0 h 1901120"/>
              <a:gd name="connsiteX1" fmla="*/ 273567 w 894776"/>
              <a:gd name="connsiteY1" fmla="*/ 298491 h 1901120"/>
              <a:gd name="connsiteX2" fmla="*/ 868803 w 894776"/>
              <a:gd name="connsiteY2" fmla="*/ 479239 h 1901120"/>
              <a:gd name="connsiteX3" fmla="*/ 459463 w 894776"/>
              <a:gd name="connsiteY3" fmla="*/ 871937 h 1901120"/>
              <a:gd name="connsiteX4" fmla="*/ 827383 w 894776"/>
              <a:gd name="connsiteY4" fmla="*/ 1274654 h 1901120"/>
              <a:gd name="connsiteX5" fmla="*/ 894776 w 894776"/>
              <a:gd name="connsiteY5" fmla="*/ 1669819 h 1901120"/>
              <a:gd name="connsiteX6" fmla="*/ 718980 w 894776"/>
              <a:gd name="connsiteY6" fmla="*/ 1901120 h 1901120"/>
              <a:gd name="connsiteX7" fmla="*/ 526697 w 894776"/>
              <a:gd name="connsiteY7" fmla="*/ 1442363 h 1901120"/>
              <a:gd name="connsiteX8" fmla="*/ 461514 w 894776"/>
              <a:gd name="connsiteY8" fmla="*/ 1215311 h 1901120"/>
              <a:gd name="connsiteX9" fmla="*/ 71363 w 894776"/>
              <a:gd name="connsiteY9" fmla="*/ 268344 h 1901120"/>
              <a:gd name="connsiteX10" fmla="*/ 0 w 894776"/>
              <a:gd name="connsiteY10" fmla="*/ 172525 h 1901120"/>
              <a:gd name="connsiteX11" fmla="*/ 86109 w 894776"/>
              <a:gd name="connsiteY11" fmla="*/ 0 h 1901120"/>
              <a:gd name="connsiteX0" fmla="*/ 86109 w 894776"/>
              <a:gd name="connsiteY0" fmla="*/ 0 h 1901120"/>
              <a:gd name="connsiteX1" fmla="*/ 273567 w 894776"/>
              <a:gd name="connsiteY1" fmla="*/ 298491 h 1901120"/>
              <a:gd name="connsiteX2" fmla="*/ 868803 w 894776"/>
              <a:gd name="connsiteY2" fmla="*/ 479239 h 1901120"/>
              <a:gd name="connsiteX3" fmla="*/ 459463 w 894776"/>
              <a:gd name="connsiteY3" fmla="*/ 871937 h 1901120"/>
              <a:gd name="connsiteX4" fmla="*/ 827383 w 894776"/>
              <a:gd name="connsiteY4" fmla="*/ 1274654 h 1901120"/>
              <a:gd name="connsiteX5" fmla="*/ 894776 w 894776"/>
              <a:gd name="connsiteY5" fmla="*/ 1669819 h 1901120"/>
              <a:gd name="connsiteX6" fmla="*/ 718980 w 894776"/>
              <a:gd name="connsiteY6" fmla="*/ 1901120 h 1901120"/>
              <a:gd name="connsiteX7" fmla="*/ 632400 w 894776"/>
              <a:gd name="connsiteY7" fmla="*/ 1690774 h 1901120"/>
              <a:gd name="connsiteX8" fmla="*/ 526697 w 894776"/>
              <a:gd name="connsiteY8" fmla="*/ 1442363 h 1901120"/>
              <a:gd name="connsiteX9" fmla="*/ 461514 w 894776"/>
              <a:gd name="connsiteY9" fmla="*/ 1215311 h 1901120"/>
              <a:gd name="connsiteX10" fmla="*/ 71363 w 894776"/>
              <a:gd name="connsiteY10" fmla="*/ 268344 h 1901120"/>
              <a:gd name="connsiteX11" fmla="*/ 0 w 894776"/>
              <a:gd name="connsiteY11" fmla="*/ 172525 h 1901120"/>
              <a:gd name="connsiteX12" fmla="*/ 86109 w 894776"/>
              <a:gd name="connsiteY12" fmla="*/ 0 h 1901120"/>
              <a:gd name="connsiteX0" fmla="*/ 86109 w 894776"/>
              <a:gd name="connsiteY0" fmla="*/ 0 h 1930842"/>
              <a:gd name="connsiteX1" fmla="*/ 273567 w 894776"/>
              <a:gd name="connsiteY1" fmla="*/ 298491 h 1930842"/>
              <a:gd name="connsiteX2" fmla="*/ 868803 w 894776"/>
              <a:gd name="connsiteY2" fmla="*/ 479239 h 1930842"/>
              <a:gd name="connsiteX3" fmla="*/ 459463 w 894776"/>
              <a:gd name="connsiteY3" fmla="*/ 871937 h 1930842"/>
              <a:gd name="connsiteX4" fmla="*/ 827383 w 894776"/>
              <a:gd name="connsiteY4" fmla="*/ 1274654 h 1930842"/>
              <a:gd name="connsiteX5" fmla="*/ 894776 w 894776"/>
              <a:gd name="connsiteY5" fmla="*/ 1669819 h 1930842"/>
              <a:gd name="connsiteX6" fmla="*/ 718980 w 894776"/>
              <a:gd name="connsiteY6" fmla="*/ 1901120 h 1930842"/>
              <a:gd name="connsiteX7" fmla="*/ 348989 w 894776"/>
              <a:gd name="connsiteY7" fmla="*/ 1930842 h 1930842"/>
              <a:gd name="connsiteX8" fmla="*/ 526697 w 894776"/>
              <a:gd name="connsiteY8" fmla="*/ 1442363 h 1930842"/>
              <a:gd name="connsiteX9" fmla="*/ 461514 w 894776"/>
              <a:gd name="connsiteY9" fmla="*/ 1215311 h 1930842"/>
              <a:gd name="connsiteX10" fmla="*/ 71363 w 894776"/>
              <a:gd name="connsiteY10" fmla="*/ 268344 h 1930842"/>
              <a:gd name="connsiteX11" fmla="*/ 0 w 894776"/>
              <a:gd name="connsiteY11" fmla="*/ 172525 h 1930842"/>
              <a:gd name="connsiteX12" fmla="*/ 86109 w 894776"/>
              <a:gd name="connsiteY12" fmla="*/ 0 h 1930842"/>
              <a:gd name="connsiteX0" fmla="*/ 86109 w 894776"/>
              <a:gd name="connsiteY0" fmla="*/ 0 h 1930842"/>
              <a:gd name="connsiteX1" fmla="*/ 273567 w 894776"/>
              <a:gd name="connsiteY1" fmla="*/ 298491 h 1930842"/>
              <a:gd name="connsiteX2" fmla="*/ 868803 w 894776"/>
              <a:gd name="connsiteY2" fmla="*/ 479239 h 1930842"/>
              <a:gd name="connsiteX3" fmla="*/ 459463 w 894776"/>
              <a:gd name="connsiteY3" fmla="*/ 871937 h 1930842"/>
              <a:gd name="connsiteX4" fmla="*/ 827383 w 894776"/>
              <a:gd name="connsiteY4" fmla="*/ 1274654 h 1930842"/>
              <a:gd name="connsiteX5" fmla="*/ 894776 w 894776"/>
              <a:gd name="connsiteY5" fmla="*/ 1669819 h 1930842"/>
              <a:gd name="connsiteX6" fmla="*/ 718980 w 894776"/>
              <a:gd name="connsiteY6" fmla="*/ 1901120 h 1930842"/>
              <a:gd name="connsiteX7" fmla="*/ 348989 w 894776"/>
              <a:gd name="connsiteY7" fmla="*/ 1930842 h 1930842"/>
              <a:gd name="connsiteX8" fmla="*/ 445650 w 894776"/>
              <a:gd name="connsiteY8" fmla="*/ 1658252 h 1930842"/>
              <a:gd name="connsiteX9" fmla="*/ 526697 w 894776"/>
              <a:gd name="connsiteY9" fmla="*/ 1442363 h 1930842"/>
              <a:gd name="connsiteX10" fmla="*/ 461514 w 894776"/>
              <a:gd name="connsiteY10" fmla="*/ 1215311 h 1930842"/>
              <a:gd name="connsiteX11" fmla="*/ 71363 w 894776"/>
              <a:gd name="connsiteY11" fmla="*/ 268344 h 1930842"/>
              <a:gd name="connsiteX12" fmla="*/ 0 w 894776"/>
              <a:gd name="connsiteY12" fmla="*/ 172525 h 1930842"/>
              <a:gd name="connsiteX13" fmla="*/ 86109 w 894776"/>
              <a:gd name="connsiteY13" fmla="*/ 0 h 1930842"/>
              <a:gd name="connsiteX0" fmla="*/ 326457 w 1135124"/>
              <a:gd name="connsiteY0" fmla="*/ 0 h 2337679"/>
              <a:gd name="connsiteX1" fmla="*/ 513915 w 1135124"/>
              <a:gd name="connsiteY1" fmla="*/ 298491 h 2337679"/>
              <a:gd name="connsiteX2" fmla="*/ 1109151 w 1135124"/>
              <a:gd name="connsiteY2" fmla="*/ 479239 h 2337679"/>
              <a:gd name="connsiteX3" fmla="*/ 699811 w 1135124"/>
              <a:gd name="connsiteY3" fmla="*/ 871937 h 2337679"/>
              <a:gd name="connsiteX4" fmla="*/ 1067731 w 1135124"/>
              <a:gd name="connsiteY4" fmla="*/ 1274654 h 2337679"/>
              <a:gd name="connsiteX5" fmla="*/ 1135124 w 1135124"/>
              <a:gd name="connsiteY5" fmla="*/ 1669819 h 2337679"/>
              <a:gd name="connsiteX6" fmla="*/ 959328 w 1135124"/>
              <a:gd name="connsiteY6" fmla="*/ 1901120 h 2337679"/>
              <a:gd name="connsiteX7" fmla="*/ 589337 w 1135124"/>
              <a:gd name="connsiteY7" fmla="*/ 1930842 h 2337679"/>
              <a:gd name="connsiteX8" fmla="*/ 0 w 1135124"/>
              <a:gd name="connsiteY8" fmla="*/ 2337679 h 2337679"/>
              <a:gd name="connsiteX9" fmla="*/ 767045 w 1135124"/>
              <a:gd name="connsiteY9" fmla="*/ 1442363 h 2337679"/>
              <a:gd name="connsiteX10" fmla="*/ 701862 w 1135124"/>
              <a:gd name="connsiteY10" fmla="*/ 1215311 h 2337679"/>
              <a:gd name="connsiteX11" fmla="*/ 311711 w 1135124"/>
              <a:gd name="connsiteY11" fmla="*/ 268344 h 2337679"/>
              <a:gd name="connsiteX12" fmla="*/ 240348 w 1135124"/>
              <a:gd name="connsiteY12" fmla="*/ 172525 h 2337679"/>
              <a:gd name="connsiteX13" fmla="*/ 326457 w 1135124"/>
              <a:gd name="connsiteY13" fmla="*/ 0 h 2337679"/>
              <a:gd name="connsiteX0" fmla="*/ 326457 w 1135124"/>
              <a:gd name="connsiteY0" fmla="*/ 0 h 2337679"/>
              <a:gd name="connsiteX1" fmla="*/ 513915 w 1135124"/>
              <a:gd name="connsiteY1" fmla="*/ 298491 h 2337679"/>
              <a:gd name="connsiteX2" fmla="*/ 1109151 w 1135124"/>
              <a:gd name="connsiteY2" fmla="*/ 479239 h 2337679"/>
              <a:gd name="connsiteX3" fmla="*/ 699811 w 1135124"/>
              <a:gd name="connsiteY3" fmla="*/ 871937 h 2337679"/>
              <a:gd name="connsiteX4" fmla="*/ 1067731 w 1135124"/>
              <a:gd name="connsiteY4" fmla="*/ 1274654 h 2337679"/>
              <a:gd name="connsiteX5" fmla="*/ 1135124 w 1135124"/>
              <a:gd name="connsiteY5" fmla="*/ 1669819 h 2337679"/>
              <a:gd name="connsiteX6" fmla="*/ 959328 w 1135124"/>
              <a:gd name="connsiteY6" fmla="*/ 1901120 h 2337679"/>
              <a:gd name="connsiteX7" fmla="*/ 589337 w 1135124"/>
              <a:gd name="connsiteY7" fmla="*/ 1930842 h 2337679"/>
              <a:gd name="connsiteX8" fmla="*/ 0 w 1135124"/>
              <a:gd name="connsiteY8" fmla="*/ 2337679 h 2337679"/>
              <a:gd name="connsiteX9" fmla="*/ 434361 w 1135124"/>
              <a:gd name="connsiteY9" fmla="*/ 1823967 h 2337679"/>
              <a:gd name="connsiteX10" fmla="*/ 767045 w 1135124"/>
              <a:gd name="connsiteY10" fmla="*/ 1442363 h 2337679"/>
              <a:gd name="connsiteX11" fmla="*/ 701862 w 1135124"/>
              <a:gd name="connsiteY11" fmla="*/ 1215311 h 2337679"/>
              <a:gd name="connsiteX12" fmla="*/ 311711 w 1135124"/>
              <a:gd name="connsiteY12" fmla="*/ 268344 h 2337679"/>
              <a:gd name="connsiteX13" fmla="*/ 240348 w 1135124"/>
              <a:gd name="connsiteY13" fmla="*/ 172525 h 2337679"/>
              <a:gd name="connsiteX14" fmla="*/ 326457 w 1135124"/>
              <a:gd name="connsiteY14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785200 w 1153279"/>
              <a:gd name="connsiteY10" fmla="*/ 1442363 h 2337679"/>
              <a:gd name="connsiteX11" fmla="*/ 720017 w 1153279"/>
              <a:gd name="connsiteY11" fmla="*/ 1215311 h 2337679"/>
              <a:gd name="connsiteX12" fmla="*/ 329866 w 1153279"/>
              <a:gd name="connsiteY12" fmla="*/ 268344 h 2337679"/>
              <a:gd name="connsiteX13" fmla="*/ 258503 w 1153279"/>
              <a:gd name="connsiteY13" fmla="*/ 172525 h 2337679"/>
              <a:gd name="connsiteX14" fmla="*/ 344612 w 1153279"/>
              <a:gd name="connsiteY14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459601 w 1153279"/>
              <a:gd name="connsiteY10" fmla="*/ 1790617 h 2337679"/>
              <a:gd name="connsiteX11" fmla="*/ 785200 w 1153279"/>
              <a:gd name="connsiteY11" fmla="*/ 1442363 h 2337679"/>
              <a:gd name="connsiteX12" fmla="*/ 720017 w 1153279"/>
              <a:gd name="connsiteY12" fmla="*/ 1215311 h 2337679"/>
              <a:gd name="connsiteX13" fmla="*/ 329866 w 1153279"/>
              <a:gd name="connsiteY13" fmla="*/ 268344 h 2337679"/>
              <a:gd name="connsiteX14" fmla="*/ 258503 w 1153279"/>
              <a:gd name="connsiteY14" fmla="*/ 172525 h 2337679"/>
              <a:gd name="connsiteX15" fmla="*/ 344612 w 1153279"/>
              <a:gd name="connsiteY15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785200 w 1153279"/>
              <a:gd name="connsiteY11" fmla="*/ 1442363 h 2337679"/>
              <a:gd name="connsiteX12" fmla="*/ 720017 w 1153279"/>
              <a:gd name="connsiteY12" fmla="*/ 1215311 h 2337679"/>
              <a:gd name="connsiteX13" fmla="*/ 329866 w 1153279"/>
              <a:gd name="connsiteY13" fmla="*/ 268344 h 2337679"/>
              <a:gd name="connsiteX14" fmla="*/ 258503 w 1153279"/>
              <a:gd name="connsiteY14" fmla="*/ 172525 h 2337679"/>
              <a:gd name="connsiteX15" fmla="*/ 344612 w 1153279"/>
              <a:gd name="connsiteY15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700755 w 1153279"/>
              <a:gd name="connsiteY11" fmla="*/ 1623016 h 2337679"/>
              <a:gd name="connsiteX12" fmla="*/ 785200 w 1153279"/>
              <a:gd name="connsiteY12" fmla="*/ 1442363 h 2337679"/>
              <a:gd name="connsiteX13" fmla="*/ 720017 w 1153279"/>
              <a:gd name="connsiteY13" fmla="*/ 1215311 h 2337679"/>
              <a:gd name="connsiteX14" fmla="*/ 329866 w 1153279"/>
              <a:gd name="connsiteY14" fmla="*/ 268344 h 2337679"/>
              <a:gd name="connsiteX15" fmla="*/ 258503 w 1153279"/>
              <a:gd name="connsiteY15" fmla="*/ 172525 h 2337679"/>
              <a:gd name="connsiteX16" fmla="*/ 344612 w 1153279"/>
              <a:gd name="connsiteY16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85200 w 1153279"/>
              <a:gd name="connsiteY12" fmla="*/ 1442363 h 2337679"/>
              <a:gd name="connsiteX13" fmla="*/ 720017 w 1153279"/>
              <a:gd name="connsiteY13" fmla="*/ 1215311 h 2337679"/>
              <a:gd name="connsiteX14" fmla="*/ 329866 w 1153279"/>
              <a:gd name="connsiteY14" fmla="*/ 268344 h 2337679"/>
              <a:gd name="connsiteX15" fmla="*/ 258503 w 1153279"/>
              <a:gd name="connsiteY15" fmla="*/ 172525 h 2337679"/>
              <a:gd name="connsiteX16" fmla="*/ 344612 w 1153279"/>
              <a:gd name="connsiteY16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39260 w 1153279"/>
              <a:gd name="connsiteY12" fmla="*/ 1583417 h 2337679"/>
              <a:gd name="connsiteX13" fmla="*/ 785200 w 1153279"/>
              <a:gd name="connsiteY13" fmla="*/ 1442363 h 2337679"/>
              <a:gd name="connsiteX14" fmla="*/ 720017 w 1153279"/>
              <a:gd name="connsiteY14" fmla="*/ 1215311 h 2337679"/>
              <a:gd name="connsiteX15" fmla="*/ 329866 w 1153279"/>
              <a:gd name="connsiteY15" fmla="*/ 268344 h 2337679"/>
              <a:gd name="connsiteX16" fmla="*/ 258503 w 1153279"/>
              <a:gd name="connsiteY16" fmla="*/ 172525 h 2337679"/>
              <a:gd name="connsiteX17" fmla="*/ 344612 w 1153279"/>
              <a:gd name="connsiteY17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33775 w 1153279"/>
              <a:gd name="connsiteY12" fmla="*/ 1710110 h 2337679"/>
              <a:gd name="connsiteX13" fmla="*/ 785200 w 1153279"/>
              <a:gd name="connsiteY13" fmla="*/ 1442363 h 2337679"/>
              <a:gd name="connsiteX14" fmla="*/ 720017 w 1153279"/>
              <a:gd name="connsiteY14" fmla="*/ 1215311 h 2337679"/>
              <a:gd name="connsiteX15" fmla="*/ 329866 w 1153279"/>
              <a:gd name="connsiteY15" fmla="*/ 268344 h 2337679"/>
              <a:gd name="connsiteX16" fmla="*/ 258503 w 1153279"/>
              <a:gd name="connsiteY16" fmla="*/ 172525 h 2337679"/>
              <a:gd name="connsiteX17" fmla="*/ 344612 w 1153279"/>
              <a:gd name="connsiteY17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33775 w 1153279"/>
              <a:gd name="connsiteY12" fmla="*/ 1710110 h 2337679"/>
              <a:gd name="connsiteX13" fmla="*/ 769169 w 1153279"/>
              <a:gd name="connsiteY13" fmla="*/ 1531451 h 2337679"/>
              <a:gd name="connsiteX14" fmla="*/ 785200 w 1153279"/>
              <a:gd name="connsiteY14" fmla="*/ 1442363 h 2337679"/>
              <a:gd name="connsiteX15" fmla="*/ 720017 w 1153279"/>
              <a:gd name="connsiteY15" fmla="*/ 1215311 h 2337679"/>
              <a:gd name="connsiteX16" fmla="*/ 329866 w 1153279"/>
              <a:gd name="connsiteY16" fmla="*/ 268344 h 2337679"/>
              <a:gd name="connsiteX17" fmla="*/ 258503 w 1153279"/>
              <a:gd name="connsiteY17" fmla="*/ 172525 h 2337679"/>
              <a:gd name="connsiteX18" fmla="*/ 344612 w 1153279"/>
              <a:gd name="connsiteY18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33775 w 1153279"/>
              <a:gd name="connsiteY12" fmla="*/ 1710110 h 2337679"/>
              <a:gd name="connsiteX13" fmla="*/ 764935 w 1153279"/>
              <a:gd name="connsiteY13" fmla="*/ 1560986 h 2337679"/>
              <a:gd name="connsiteX14" fmla="*/ 785200 w 1153279"/>
              <a:gd name="connsiteY14" fmla="*/ 1442363 h 2337679"/>
              <a:gd name="connsiteX15" fmla="*/ 720017 w 1153279"/>
              <a:gd name="connsiteY15" fmla="*/ 1215311 h 2337679"/>
              <a:gd name="connsiteX16" fmla="*/ 329866 w 1153279"/>
              <a:gd name="connsiteY16" fmla="*/ 268344 h 2337679"/>
              <a:gd name="connsiteX17" fmla="*/ 258503 w 1153279"/>
              <a:gd name="connsiteY17" fmla="*/ 172525 h 2337679"/>
              <a:gd name="connsiteX18" fmla="*/ 344612 w 1153279"/>
              <a:gd name="connsiteY18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717966 w 1153279"/>
              <a:gd name="connsiteY3" fmla="*/ 871937 h 2337679"/>
              <a:gd name="connsiteX4" fmla="*/ 1085886 w 1153279"/>
              <a:gd name="connsiteY4" fmla="*/ 1274654 h 2337679"/>
              <a:gd name="connsiteX5" fmla="*/ 1153279 w 1153279"/>
              <a:gd name="connsiteY5" fmla="*/ 1669819 h 2337679"/>
              <a:gd name="connsiteX6" fmla="*/ 977483 w 1153279"/>
              <a:gd name="connsiteY6" fmla="*/ 1901120 h 2337679"/>
              <a:gd name="connsiteX7" fmla="*/ 607492 w 1153279"/>
              <a:gd name="connsiteY7" fmla="*/ 1930842 h 2337679"/>
              <a:gd name="connsiteX8" fmla="*/ 18155 w 1153279"/>
              <a:gd name="connsiteY8" fmla="*/ 2337679 h 2337679"/>
              <a:gd name="connsiteX9" fmla="*/ 0 w 1153279"/>
              <a:gd name="connsiteY9" fmla="*/ 2306277 h 2337679"/>
              <a:gd name="connsiteX10" fmla="*/ 577914 w 1153279"/>
              <a:gd name="connsiteY10" fmla="*/ 1902797 h 2337679"/>
              <a:gd name="connsiteX11" fmla="*/ 673956 w 1153279"/>
              <a:gd name="connsiteY11" fmla="*/ 1814042 h 2337679"/>
              <a:gd name="connsiteX12" fmla="*/ 733775 w 1153279"/>
              <a:gd name="connsiteY12" fmla="*/ 1710110 h 2337679"/>
              <a:gd name="connsiteX13" fmla="*/ 776380 w 1153279"/>
              <a:gd name="connsiteY13" fmla="*/ 1569537 h 2337679"/>
              <a:gd name="connsiteX14" fmla="*/ 785200 w 1153279"/>
              <a:gd name="connsiteY14" fmla="*/ 1442363 h 2337679"/>
              <a:gd name="connsiteX15" fmla="*/ 720017 w 1153279"/>
              <a:gd name="connsiteY15" fmla="*/ 1215311 h 2337679"/>
              <a:gd name="connsiteX16" fmla="*/ 329866 w 1153279"/>
              <a:gd name="connsiteY16" fmla="*/ 268344 h 2337679"/>
              <a:gd name="connsiteX17" fmla="*/ 258503 w 1153279"/>
              <a:gd name="connsiteY17" fmla="*/ 172525 h 2337679"/>
              <a:gd name="connsiteX18" fmla="*/ 344612 w 1153279"/>
              <a:gd name="connsiteY18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903845 w 1153279"/>
              <a:gd name="connsiteY3" fmla="*/ 686815 h 2337679"/>
              <a:gd name="connsiteX4" fmla="*/ 717966 w 1153279"/>
              <a:gd name="connsiteY4" fmla="*/ 871937 h 2337679"/>
              <a:gd name="connsiteX5" fmla="*/ 1085886 w 1153279"/>
              <a:gd name="connsiteY5" fmla="*/ 1274654 h 2337679"/>
              <a:gd name="connsiteX6" fmla="*/ 1153279 w 1153279"/>
              <a:gd name="connsiteY6" fmla="*/ 1669819 h 2337679"/>
              <a:gd name="connsiteX7" fmla="*/ 977483 w 1153279"/>
              <a:gd name="connsiteY7" fmla="*/ 1901120 h 2337679"/>
              <a:gd name="connsiteX8" fmla="*/ 607492 w 1153279"/>
              <a:gd name="connsiteY8" fmla="*/ 1930842 h 2337679"/>
              <a:gd name="connsiteX9" fmla="*/ 18155 w 1153279"/>
              <a:gd name="connsiteY9" fmla="*/ 2337679 h 2337679"/>
              <a:gd name="connsiteX10" fmla="*/ 0 w 1153279"/>
              <a:gd name="connsiteY10" fmla="*/ 2306277 h 2337679"/>
              <a:gd name="connsiteX11" fmla="*/ 577914 w 1153279"/>
              <a:gd name="connsiteY11" fmla="*/ 1902797 h 2337679"/>
              <a:gd name="connsiteX12" fmla="*/ 673956 w 1153279"/>
              <a:gd name="connsiteY12" fmla="*/ 1814042 h 2337679"/>
              <a:gd name="connsiteX13" fmla="*/ 733775 w 1153279"/>
              <a:gd name="connsiteY13" fmla="*/ 1710110 h 2337679"/>
              <a:gd name="connsiteX14" fmla="*/ 776380 w 1153279"/>
              <a:gd name="connsiteY14" fmla="*/ 1569537 h 2337679"/>
              <a:gd name="connsiteX15" fmla="*/ 785200 w 1153279"/>
              <a:gd name="connsiteY15" fmla="*/ 1442363 h 2337679"/>
              <a:gd name="connsiteX16" fmla="*/ 720017 w 1153279"/>
              <a:gd name="connsiteY16" fmla="*/ 1215311 h 2337679"/>
              <a:gd name="connsiteX17" fmla="*/ 329866 w 1153279"/>
              <a:gd name="connsiteY17" fmla="*/ 268344 h 2337679"/>
              <a:gd name="connsiteX18" fmla="*/ 258503 w 1153279"/>
              <a:gd name="connsiteY18" fmla="*/ 172525 h 2337679"/>
              <a:gd name="connsiteX19" fmla="*/ 344612 w 1153279"/>
              <a:gd name="connsiteY19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717966 w 1153279"/>
              <a:gd name="connsiteY4" fmla="*/ 871937 h 2337679"/>
              <a:gd name="connsiteX5" fmla="*/ 1085886 w 1153279"/>
              <a:gd name="connsiteY5" fmla="*/ 1274654 h 2337679"/>
              <a:gd name="connsiteX6" fmla="*/ 1153279 w 1153279"/>
              <a:gd name="connsiteY6" fmla="*/ 1669819 h 2337679"/>
              <a:gd name="connsiteX7" fmla="*/ 977483 w 1153279"/>
              <a:gd name="connsiteY7" fmla="*/ 1901120 h 2337679"/>
              <a:gd name="connsiteX8" fmla="*/ 607492 w 1153279"/>
              <a:gd name="connsiteY8" fmla="*/ 1930842 h 2337679"/>
              <a:gd name="connsiteX9" fmla="*/ 18155 w 1153279"/>
              <a:gd name="connsiteY9" fmla="*/ 2337679 h 2337679"/>
              <a:gd name="connsiteX10" fmla="*/ 0 w 1153279"/>
              <a:gd name="connsiteY10" fmla="*/ 2306277 h 2337679"/>
              <a:gd name="connsiteX11" fmla="*/ 577914 w 1153279"/>
              <a:gd name="connsiteY11" fmla="*/ 1902797 h 2337679"/>
              <a:gd name="connsiteX12" fmla="*/ 673956 w 1153279"/>
              <a:gd name="connsiteY12" fmla="*/ 1814042 h 2337679"/>
              <a:gd name="connsiteX13" fmla="*/ 733775 w 1153279"/>
              <a:gd name="connsiteY13" fmla="*/ 1710110 h 2337679"/>
              <a:gd name="connsiteX14" fmla="*/ 776380 w 1153279"/>
              <a:gd name="connsiteY14" fmla="*/ 1569537 h 2337679"/>
              <a:gd name="connsiteX15" fmla="*/ 785200 w 1153279"/>
              <a:gd name="connsiteY15" fmla="*/ 1442363 h 2337679"/>
              <a:gd name="connsiteX16" fmla="*/ 720017 w 1153279"/>
              <a:gd name="connsiteY16" fmla="*/ 1215311 h 2337679"/>
              <a:gd name="connsiteX17" fmla="*/ 329866 w 1153279"/>
              <a:gd name="connsiteY17" fmla="*/ 268344 h 2337679"/>
              <a:gd name="connsiteX18" fmla="*/ 258503 w 1153279"/>
              <a:gd name="connsiteY18" fmla="*/ 172525 h 2337679"/>
              <a:gd name="connsiteX19" fmla="*/ 344612 w 1153279"/>
              <a:gd name="connsiteY19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36734 w 1153279"/>
              <a:gd name="connsiteY4" fmla="*/ 702471 h 2337679"/>
              <a:gd name="connsiteX5" fmla="*/ 717966 w 1153279"/>
              <a:gd name="connsiteY5" fmla="*/ 871937 h 2337679"/>
              <a:gd name="connsiteX6" fmla="*/ 1085886 w 1153279"/>
              <a:gd name="connsiteY6" fmla="*/ 1274654 h 2337679"/>
              <a:gd name="connsiteX7" fmla="*/ 1153279 w 1153279"/>
              <a:gd name="connsiteY7" fmla="*/ 1669819 h 2337679"/>
              <a:gd name="connsiteX8" fmla="*/ 977483 w 1153279"/>
              <a:gd name="connsiteY8" fmla="*/ 1901120 h 2337679"/>
              <a:gd name="connsiteX9" fmla="*/ 607492 w 1153279"/>
              <a:gd name="connsiteY9" fmla="*/ 1930842 h 2337679"/>
              <a:gd name="connsiteX10" fmla="*/ 18155 w 1153279"/>
              <a:gd name="connsiteY10" fmla="*/ 2337679 h 2337679"/>
              <a:gd name="connsiteX11" fmla="*/ 0 w 1153279"/>
              <a:gd name="connsiteY11" fmla="*/ 2306277 h 2337679"/>
              <a:gd name="connsiteX12" fmla="*/ 577914 w 1153279"/>
              <a:gd name="connsiteY12" fmla="*/ 1902797 h 2337679"/>
              <a:gd name="connsiteX13" fmla="*/ 673956 w 1153279"/>
              <a:gd name="connsiteY13" fmla="*/ 1814042 h 2337679"/>
              <a:gd name="connsiteX14" fmla="*/ 733775 w 1153279"/>
              <a:gd name="connsiteY14" fmla="*/ 1710110 h 2337679"/>
              <a:gd name="connsiteX15" fmla="*/ 776380 w 1153279"/>
              <a:gd name="connsiteY15" fmla="*/ 1569537 h 2337679"/>
              <a:gd name="connsiteX16" fmla="*/ 785200 w 1153279"/>
              <a:gd name="connsiteY16" fmla="*/ 1442363 h 2337679"/>
              <a:gd name="connsiteX17" fmla="*/ 720017 w 1153279"/>
              <a:gd name="connsiteY17" fmla="*/ 1215311 h 2337679"/>
              <a:gd name="connsiteX18" fmla="*/ 329866 w 1153279"/>
              <a:gd name="connsiteY18" fmla="*/ 268344 h 2337679"/>
              <a:gd name="connsiteX19" fmla="*/ 258503 w 1153279"/>
              <a:gd name="connsiteY19" fmla="*/ 172525 h 2337679"/>
              <a:gd name="connsiteX20" fmla="*/ 344612 w 1153279"/>
              <a:gd name="connsiteY20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717966 w 1153279"/>
              <a:gd name="connsiteY5" fmla="*/ 871937 h 2337679"/>
              <a:gd name="connsiteX6" fmla="*/ 1085886 w 1153279"/>
              <a:gd name="connsiteY6" fmla="*/ 1274654 h 2337679"/>
              <a:gd name="connsiteX7" fmla="*/ 1153279 w 1153279"/>
              <a:gd name="connsiteY7" fmla="*/ 1669819 h 2337679"/>
              <a:gd name="connsiteX8" fmla="*/ 977483 w 1153279"/>
              <a:gd name="connsiteY8" fmla="*/ 1901120 h 2337679"/>
              <a:gd name="connsiteX9" fmla="*/ 607492 w 1153279"/>
              <a:gd name="connsiteY9" fmla="*/ 1930842 h 2337679"/>
              <a:gd name="connsiteX10" fmla="*/ 18155 w 1153279"/>
              <a:gd name="connsiteY10" fmla="*/ 2337679 h 2337679"/>
              <a:gd name="connsiteX11" fmla="*/ 0 w 1153279"/>
              <a:gd name="connsiteY11" fmla="*/ 2306277 h 2337679"/>
              <a:gd name="connsiteX12" fmla="*/ 577914 w 1153279"/>
              <a:gd name="connsiteY12" fmla="*/ 1902797 h 2337679"/>
              <a:gd name="connsiteX13" fmla="*/ 673956 w 1153279"/>
              <a:gd name="connsiteY13" fmla="*/ 1814042 h 2337679"/>
              <a:gd name="connsiteX14" fmla="*/ 733775 w 1153279"/>
              <a:gd name="connsiteY14" fmla="*/ 1710110 h 2337679"/>
              <a:gd name="connsiteX15" fmla="*/ 776380 w 1153279"/>
              <a:gd name="connsiteY15" fmla="*/ 1569537 h 2337679"/>
              <a:gd name="connsiteX16" fmla="*/ 785200 w 1153279"/>
              <a:gd name="connsiteY16" fmla="*/ 1442363 h 2337679"/>
              <a:gd name="connsiteX17" fmla="*/ 720017 w 1153279"/>
              <a:gd name="connsiteY17" fmla="*/ 1215311 h 2337679"/>
              <a:gd name="connsiteX18" fmla="*/ 329866 w 1153279"/>
              <a:gd name="connsiteY18" fmla="*/ 268344 h 2337679"/>
              <a:gd name="connsiteX19" fmla="*/ 258503 w 1153279"/>
              <a:gd name="connsiteY19" fmla="*/ 172525 h 2337679"/>
              <a:gd name="connsiteX20" fmla="*/ 344612 w 1153279"/>
              <a:gd name="connsiteY20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833919 w 1153279"/>
              <a:gd name="connsiteY5" fmla="*/ 732662 h 2337679"/>
              <a:gd name="connsiteX6" fmla="*/ 717966 w 1153279"/>
              <a:gd name="connsiteY6" fmla="*/ 871937 h 2337679"/>
              <a:gd name="connsiteX7" fmla="*/ 1085886 w 1153279"/>
              <a:gd name="connsiteY7" fmla="*/ 1274654 h 2337679"/>
              <a:gd name="connsiteX8" fmla="*/ 1153279 w 1153279"/>
              <a:gd name="connsiteY8" fmla="*/ 1669819 h 2337679"/>
              <a:gd name="connsiteX9" fmla="*/ 977483 w 1153279"/>
              <a:gd name="connsiteY9" fmla="*/ 1901120 h 2337679"/>
              <a:gd name="connsiteX10" fmla="*/ 607492 w 1153279"/>
              <a:gd name="connsiteY10" fmla="*/ 1930842 h 2337679"/>
              <a:gd name="connsiteX11" fmla="*/ 18155 w 1153279"/>
              <a:gd name="connsiteY11" fmla="*/ 2337679 h 2337679"/>
              <a:gd name="connsiteX12" fmla="*/ 0 w 1153279"/>
              <a:gd name="connsiteY12" fmla="*/ 2306277 h 2337679"/>
              <a:gd name="connsiteX13" fmla="*/ 577914 w 1153279"/>
              <a:gd name="connsiteY13" fmla="*/ 1902797 h 2337679"/>
              <a:gd name="connsiteX14" fmla="*/ 673956 w 1153279"/>
              <a:gd name="connsiteY14" fmla="*/ 1814042 h 2337679"/>
              <a:gd name="connsiteX15" fmla="*/ 733775 w 1153279"/>
              <a:gd name="connsiteY15" fmla="*/ 1710110 h 2337679"/>
              <a:gd name="connsiteX16" fmla="*/ 776380 w 1153279"/>
              <a:gd name="connsiteY16" fmla="*/ 1569537 h 2337679"/>
              <a:gd name="connsiteX17" fmla="*/ 785200 w 1153279"/>
              <a:gd name="connsiteY17" fmla="*/ 1442363 h 2337679"/>
              <a:gd name="connsiteX18" fmla="*/ 720017 w 1153279"/>
              <a:gd name="connsiteY18" fmla="*/ 1215311 h 2337679"/>
              <a:gd name="connsiteX19" fmla="*/ 329866 w 1153279"/>
              <a:gd name="connsiteY19" fmla="*/ 268344 h 2337679"/>
              <a:gd name="connsiteX20" fmla="*/ 258503 w 1153279"/>
              <a:gd name="connsiteY20" fmla="*/ 172525 h 2337679"/>
              <a:gd name="connsiteX21" fmla="*/ 344612 w 1153279"/>
              <a:gd name="connsiteY21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717966 w 1153279"/>
              <a:gd name="connsiteY6" fmla="*/ 871937 h 2337679"/>
              <a:gd name="connsiteX7" fmla="*/ 1085886 w 1153279"/>
              <a:gd name="connsiteY7" fmla="*/ 1274654 h 2337679"/>
              <a:gd name="connsiteX8" fmla="*/ 1153279 w 1153279"/>
              <a:gd name="connsiteY8" fmla="*/ 1669819 h 2337679"/>
              <a:gd name="connsiteX9" fmla="*/ 977483 w 1153279"/>
              <a:gd name="connsiteY9" fmla="*/ 1901120 h 2337679"/>
              <a:gd name="connsiteX10" fmla="*/ 607492 w 1153279"/>
              <a:gd name="connsiteY10" fmla="*/ 1930842 h 2337679"/>
              <a:gd name="connsiteX11" fmla="*/ 18155 w 1153279"/>
              <a:gd name="connsiteY11" fmla="*/ 2337679 h 2337679"/>
              <a:gd name="connsiteX12" fmla="*/ 0 w 1153279"/>
              <a:gd name="connsiteY12" fmla="*/ 2306277 h 2337679"/>
              <a:gd name="connsiteX13" fmla="*/ 577914 w 1153279"/>
              <a:gd name="connsiteY13" fmla="*/ 1902797 h 2337679"/>
              <a:gd name="connsiteX14" fmla="*/ 673956 w 1153279"/>
              <a:gd name="connsiteY14" fmla="*/ 1814042 h 2337679"/>
              <a:gd name="connsiteX15" fmla="*/ 733775 w 1153279"/>
              <a:gd name="connsiteY15" fmla="*/ 1710110 h 2337679"/>
              <a:gd name="connsiteX16" fmla="*/ 776380 w 1153279"/>
              <a:gd name="connsiteY16" fmla="*/ 1569537 h 2337679"/>
              <a:gd name="connsiteX17" fmla="*/ 785200 w 1153279"/>
              <a:gd name="connsiteY17" fmla="*/ 1442363 h 2337679"/>
              <a:gd name="connsiteX18" fmla="*/ 720017 w 1153279"/>
              <a:gd name="connsiteY18" fmla="*/ 1215311 h 2337679"/>
              <a:gd name="connsiteX19" fmla="*/ 329866 w 1153279"/>
              <a:gd name="connsiteY19" fmla="*/ 268344 h 2337679"/>
              <a:gd name="connsiteX20" fmla="*/ 258503 w 1153279"/>
              <a:gd name="connsiteY20" fmla="*/ 172525 h 2337679"/>
              <a:gd name="connsiteX21" fmla="*/ 344612 w 1153279"/>
              <a:gd name="connsiteY21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810215 w 1153279"/>
              <a:gd name="connsiteY6" fmla="*/ 792235 h 2337679"/>
              <a:gd name="connsiteX7" fmla="*/ 717966 w 1153279"/>
              <a:gd name="connsiteY7" fmla="*/ 871937 h 2337679"/>
              <a:gd name="connsiteX8" fmla="*/ 1085886 w 1153279"/>
              <a:gd name="connsiteY8" fmla="*/ 1274654 h 2337679"/>
              <a:gd name="connsiteX9" fmla="*/ 1153279 w 1153279"/>
              <a:gd name="connsiteY9" fmla="*/ 1669819 h 2337679"/>
              <a:gd name="connsiteX10" fmla="*/ 977483 w 1153279"/>
              <a:gd name="connsiteY10" fmla="*/ 1901120 h 2337679"/>
              <a:gd name="connsiteX11" fmla="*/ 607492 w 1153279"/>
              <a:gd name="connsiteY11" fmla="*/ 1930842 h 2337679"/>
              <a:gd name="connsiteX12" fmla="*/ 18155 w 1153279"/>
              <a:gd name="connsiteY12" fmla="*/ 2337679 h 2337679"/>
              <a:gd name="connsiteX13" fmla="*/ 0 w 1153279"/>
              <a:gd name="connsiteY13" fmla="*/ 2306277 h 2337679"/>
              <a:gd name="connsiteX14" fmla="*/ 577914 w 1153279"/>
              <a:gd name="connsiteY14" fmla="*/ 1902797 h 2337679"/>
              <a:gd name="connsiteX15" fmla="*/ 673956 w 1153279"/>
              <a:gd name="connsiteY15" fmla="*/ 1814042 h 2337679"/>
              <a:gd name="connsiteX16" fmla="*/ 733775 w 1153279"/>
              <a:gd name="connsiteY16" fmla="*/ 1710110 h 2337679"/>
              <a:gd name="connsiteX17" fmla="*/ 776380 w 1153279"/>
              <a:gd name="connsiteY17" fmla="*/ 1569537 h 2337679"/>
              <a:gd name="connsiteX18" fmla="*/ 785200 w 1153279"/>
              <a:gd name="connsiteY18" fmla="*/ 1442363 h 2337679"/>
              <a:gd name="connsiteX19" fmla="*/ 720017 w 1153279"/>
              <a:gd name="connsiteY19" fmla="*/ 1215311 h 2337679"/>
              <a:gd name="connsiteX20" fmla="*/ 329866 w 1153279"/>
              <a:gd name="connsiteY20" fmla="*/ 268344 h 2337679"/>
              <a:gd name="connsiteX21" fmla="*/ 258503 w 1153279"/>
              <a:gd name="connsiteY21" fmla="*/ 172525 h 2337679"/>
              <a:gd name="connsiteX22" fmla="*/ 344612 w 1153279"/>
              <a:gd name="connsiteY22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717966 w 1153279"/>
              <a:gd name="connsiteY7" fmla="*/ 871937 h 2337679"/>
              <a:gd name="connsiteX8" fmla="*/ 1085886 w 1153279"/>
              <a:gd name="connsiteY8" fmla="*/ 1274654 h 2337679"/>
              <a:gd name="connsiteX9" fmla="*/ 1153279 w 1153279"/>
              <a:gd name="connsiteY9" fmla="*/ 1669819 h 2337679"/>
              <a:gd name="connsiteX10" fmla="*/ 977483 w 1153279"/>
              <a:gd name="connsiteY10" fmla="*/ 1901120 h 2337679"/>
              <a:gd name="connsiteX11" fmla="*/ 607492 w 1153279"/>
              <a:gd name="connsiteY11" fmla="*/ 1930842 h 2337679"/>
              <a:gd name="connsiteX12" fmla="*/ 18155 w 1153279"/>
              <a:gd name="connsiteY12" fmla="*/ 2337679 h 2337679"/>
              <a:gd name="connsiteX13" fmla="*/ 0 w 1153279"/>
              <a:gd name="connsiteY13" fmla="*/ 2306277 h 2337679"/>
              <a:gd name="connsiteX14" fmla="*/ 577914 w 1153279"/>
              <a:gd name="connsiteY14" fmla="*/ 1902797 h 2337679"/>
              <a:gd name="connsiteX15" fmla="*/ 673956 w 1153279"/>
              <a:gd name="connsiteY15" fmla="*/ 1814042 h 2337679"/>
              <a:gd name="connsiteX16" fmla="*/ 733775 w 1153279"/>
              <a:gd name="connsiteY16" fmla="*/ 1710110 h 2337679"/>
              <a:gd name="connsiteX17" fmla="*/ 776380 w 1153279"/>
              <a:gd name="connsiteY17" fmla="*/ 1569537 h 2337679"/>
              <a:gd name="connsiteX18" fmla="*/ 785200 w 1153279"/>
              <a:gd name="connsiteY18" fmla="*/ 1442363 h 2337679"/>
              <a:gd name="connsiteX19" fmla="*/ 720017 w 1153279"/>
              <a:gd name="connsiteY19" fmla="*/ 1215311 h 2337679"/>
              <a:gd name="connsiteX20" fmla="*/ 329866 w 1153279"/>
              <a:gd name="connsiteY20" fmla="*/ 268344 h 2337679"/>
              <a:gd name="connsiteX21" fmla="*/ 258503 w 1153279"/>
              <a:gd name="connsiteY21" fmla="*/ 172525 h 2337679"/>
              <a:gd name="connsiteX22" fmla="*/ 344612 w 1153279"/>
              <a:gd name="connsiteY22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787410 w 1153279"/>
              <a:gd name="connsiteY7" fmla="*/ 822757 h 2337679"/>
              <a:gd name="connsiteX8" fmla="*/ 717966 w 1153279"/>
              <a:gd name="connsiteY8" fmla="*/ 871937 h 2337679"/>
              <a:gd name="connsiteX9" fmla="*/ 1085886 w 1153279"/>
              <a:gd name="connsiteY9" fmla="*/ 1274654 h 2337679"/>
              <a:gd name="connsiteX10" fmla="*/ 1153279 w 1153279"/>
              <a:gd name="connsiteY10" fmla="*/ 1669819 h 2337679"/>
              <a:gd name="connsiteX11" fmla="*/ 977483 w 1153279"/>
              <a:gd name="connsiteY11" fmla="*/ 1901120 h 2337679"/>
              <a:gd name="connsiteX12" fmla="*/ 607492 w 1153279"/>
              <a:gd name="connsiteY12" fmla="*/ 1930842 h 2337679"/>
              <a:gd name="connsiteX13" fmla="*/ 18155 w 1153279"/>
              <a:gd name="connsiteY13" fmla="*/ 2337679 h 2337679"/>
              <a:gd name="connsiteX14" fmla="*/ 0 w 1153279"/>
              <a:gd name="connsiteY14" fmla="*/ 2306277 h 2337679"/>
              <a:gd name="connsiteX15" fmla="*/ 577914 w 1153279"/>
              <a:gd name="connsiteY15" fmla="*/ 1902797 h 2337679"/>
              <a:gd name="connsiteX16" fmla="*/ 673956 w 1153279"/>
              <a:gd name="connsiteY16" fmla="*/ 1814042 h 2337679"/>
              <a:gd name="connsiteX17" fmla="*/ 733775 w 1153279"/>
              <a:gd name="connsiteY17" fmla="*/ 1710110 h 2337679"/>
              <a:gd name="connsiteX18" fmla="*/ 776380 w 1153279"/>
              <a:gd name="connsiteY18" fmla="*/ 1569537 h 2337679"/>
              <a:gd name="connsiteX19" fmla="*/ 785200 w 1153279"/>
              <a:gd name="connsiteY19" fmla="*/ 1442363 h 2337679"/>
              <a:gd name="connsiteX20" fmla="*/ 720017 w 1153279"/>
              <a:gd name="connsiteY20" fmla="*/ 1215311 h 2337679"/>
              <a:gd name="connsiteX21" fmla="*/ 329866 w 1153279"/>
              <a:gd name="connsiteY21" fmla="*/ 268344 h 2337679"/>
              <a:gd name="connsiteX22" fmla="*/ 258503 w 1153279"/>
              <a:gd name="connsiteY22" fmla="*/ 172525 h 2337679"/>
              <a:gd name="connsiteX23" fmla="*/ 344612 w 1153279"/>
              <a:gd name="connsiteY23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717966 w 1153279"/>
              <a:gd name="connsiteY8" fmla="*/ 871937 h 2337679"/>
              <a:gd name="connsiteX9" fmla="*/ 1085886 w 1153279"/>
              <a:gd name="connsiteY9" fmla="*/ 1274654 h 2337679"/>
              <a:gd name="connsiteX10" fmla="*/ 1153279 w 1153279"/>
              <a:gd name="connsiteY10" fmla="*/ 1669819 h 2337679"/>
              <a:gd name="connsiteX11" fmla="*/ 977483 w 1153279"/>
              <a:gd name="connsiteY11" fmla="*/ 1901120 h 2337679"/>
              <a:gd name="connsiteX12" fmla="*/ 607492 w 1153279"/>
              <a:gd name="connsiteY12" fmla="*/ 1930842 h 2337679"/>
              <a:gd name="connsiteX13" fmla="*/ 18155 w 1153279"/>
              <a:gd name="connsiteY13" fmla="*/ 2337679 h 2337679"/>
              <a:gd name="connsiteX14" fmla="*/ 0 w 1153279"/>
              <a:gd name="connsiteY14" fmla="*/ 2306277 h 2337679"/>
              <a:gd name="connsiteX15" fmla="*/ 577914 w 1153279"/>
              <a:gd name="connsiteY15" fmla="*/ 1902797 h 2337679"/>
              <a:gd name="connsiteX16" fmla="*/ 673956 w 1153279"/>
              <a:gd name="connsiteY16" fmla="*/ 1814042 h 2337679"/>
              <a:gd name="connsiteX17" fmla="*/ 733775 w 1153279"/>
              <a:gd name="connsiteY17" fmla="*/ 1710110 h 2337679"/>
              <a:gd name="connsiteX18" fmla="*/ 776380 w 1153279"/>
              <a:gd name="connsiteY18" fmla="*/ 1569537 h 2337679"/>
              <a:gd name="connsiteX19" fmla="*/ 785200 w 1153279"/>
              <a:gd name="connsiteY19" fmla="*/ 1442363 h 2337679"/>
              <a:gd name="connsiteX20" fmla="*/ 720017 w 1153279"/>
              <a:gd name="connsiteY20" fmla="*/ 1215311 h 2337679"/>
              <a:gd name="connsiteX21" fmla="*/ 329866 w 1153279"/>
              <a:gd name="connsiteY21" fmla="*/ 268344 h 2337679"/>
              <a:gd name="connsiteX22" fmla="*/ 258503 w 1153279"/>
              <a:gd name="connsiteY22" fmla="*/ 172525 h 2337679"/>
              <a:gd name="connsiteX23" fmla="*/ 344612 w 1153279"/>
              <a:gd name="connsiteY23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790743 w 1153279"/>
              <a:gd name="connsiteY8" fmla="*/ 822275 h 2337679"/>
              <a:gd name="connsiteX9" fmla="*/ 717966 w 1153279"/>
              <a:gd name="connsiteY9" fmla="*/ 871937 h 2337679"/>
              <a:gd name="connsiteX10" fmla="*/ 1085886 w 1153279"/>
              <a:gd name="connsiteY10" fmla="*/ 1274654 h 2337679"/>
              <a:gd name="connsiteX11" fmla="*/ 1153279 w 1153279"/>
              <a:gd name="connsiteY11" fmla="*/ 1669819 h 2337679"/>
              <a:gd name="connsiteX12" fmla="*/ 977483 w 1153279"/>
              <a:gd name="connsiteY12" fmla="*/ 1901120 h 2337679"/>
              <a:gd name="connsiteX13" fmla="*/ 607492 w 1153279"/>
              <a:gd name="connsiteY13" fmla="*/ 1930842 h 2337679"/>
              <a:gd name="connsiteX14" fmla="*/ 18155 w 1153279"/>
              <a:gd name="connsiteY14" fmla="*/ 2337679 h 2337679"/>
              <a:gd name="connsiteX15" fmla="*/ 0 w 1153279"/>
              <a:gd name="connsiteY15" fmla="*/ 2306277 h 2337679"/>
              <a:gd name="connsiteX16" fmla="*/ 577914 w 1153279"/>
              <a:gd name="connsiteY16" fmla="*/ 1902797 h 2337679"/>
              <a:gd name="connsiteX17" fmla="*/ 673956 w 1153279"/>
              <a:gd name="connsiteY17" fmla="*/ 1814042 h 2337679"/>
              <a:gd name="connsiteX18" fmla="*/ 733775 w 1153279"/>
              <a:gd name="connsiteY18" fmla="*/ 1710110 h 2337679"/>
              <a:gd name="connsiteX19" fmla="*/ 776380 w 1153279"/>
              <a:gd name="connsiteY19" fmla="*/ 1569537 h 2337679"/>
              <a:gd name="connsiteX20" fmla="*/ 785200 w 1153279"/>
              <a:gd name="connsiteY20" fmla="*/ 1442363 h 2337679"/>
              <a:gd name="connsiteX21" fmla="*/ 720017 w 1153279"/>
              <a:gd name="connsiteY21" fmla="*/ 1215311 h 2337679"/>
              <a:gd name="connsiteX22" fmla="*/ 329866 w 1153279"/>
              <a:gd name="connsiteY22" fmla="*/ 268344 h 2337679"/>
              <a:gd name="connsiteX23" fmla="*/ 258503 w 1153279"/>
              <a:gd name="connsiteY23" fmla="*/ 172525 h 2337679"/>
              <a:gd name="connsiteX24" fmla="*/ 344612 w 1153279"/>
              <a:gd name="connsiteY24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805788 w 1153279"/>
              <a:gd name="connsiteY8" fmla="*/ 714615 h 2337679"/>
              <a:gd name="connsiteX9" fmla="*/ 717966 w 1153279"/>
              <a:gd name="connsiteY9" fmla="*/ 871937 h 2337679"/>
              <a:gd name="connsiteX10" fmla="*/ 1085886 w 1153279"/>
              <a:gd name="connsiteY10" fmla="*/ 1274654 h 2337679"/>
              <a:gd name="connsiteX11" fmla="*/ 1153279 w 1153279"/>
              <a:gd name="connsiteY11" fmla="*/ 1669819 h 2337679"/>
              <a:gd name="connsiteX12" fmla="*/ 977483 w 1153279"/>
              <a:gd name="connsiteY12" fmla="*/ 1901120 h 2337679"/>
              <a:gd name="connsiteX13" fmla="*/ 607492 w 1153279"/>
              <a:gd name="connsiteY13" fmla="*/ 1930842 h 2337679"/>
              <a:gd name="connsiteX14" fmla="*/ 18155 w 1153279"/>
              <a:gd name="connsiteY14" fmla="*/ 2337679 h 2337679"/>
              <a:gd name="connsiteX15" fmla="*/ 0 w 1153279"/>
              <a:gd name="connsiteY15" fmla="*/ 2306277 h 2337679"/>
              <a:gd name="connsiteX16" fmla="*/ 577914 w 1153279"/>
              <a:gd name="connsiteY16" fmla="*/ 1902797 h 2337679"/>
              <a:gd name="connsiteX17" fmla="*/ 673956 w 1153279"/>
              <a:gd name="connsiteY17" fmla="*/ 1814042 h 2337679"/>
              <a:gd name="connsiteX18" fmla="*/ 733775 w 1153279"/>
              <a:gd name="connsiteY18" fmla="*/ 1710110 h 2337679"/>
              <a:gd name="connsiteX19" fmla="*/ 776380 w 1153279"/>
              <a:gd name="connsiteY19" fmla="*/ 1569537 h 2337679"/>
              <a:gd name="connsiteX20" fmla="*/ 785200 w 1153279"/>
              <a:gd name="connsiteY20" fmla="*/ 1442363 h 2337679"/>
              <a:gd name="connsiteX21" fmla="*/ 720017 w 1153279"/>
              <a:gd name="connsiteY21" fmla="*/ 1215311 h 2337679"/>
              <a:gd name="connsiteX22" fmla="*/ 329866 w 1153279"/>
              <a:gd name="connsiteY22" fmla="*/ 268344 h 2337679"/>
              <a:gd name="connsiteX23" fmla="*/ 258503 w 1153279"/>
              <a:gd name="connsiteY23" fmla="*/ 172525 h 2337679"/>
              <a:gd name="connsiteX24" fmla="*/ 344612 w 1153279"/>
              <a:gd name="connsiteY24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805788 w 1153279"/>
              <a:gd name="connsiteY8" fmla="*/ 714615 h 2337679"/>
              <a:gd name="connsiteX9" fmla="*/ 745947 w 1153279"/>
              <a:gd name="connsiteY9" fmla="*/ 806640 h 2337679"/>
              <a:gd name="connsiteX10" fmla="*/ 717966 w 1153279"/>
              <a:gd name="connsiteY10" fmla="*/ 871937 h 2337679"/>
              <a:gd name="connsiteX11" fmla="*/ 1085886 w 1153279"/>
              <a:gd name="connsiteY11" fmla="*/ 1274654 h 2337679"/>
              <a:gd name="connsiteX12" fmla="*/ 1153279 w 1153279"/>
              <a:gd name="connsiteY12" fmla="*/ 1669819 h 2337679"/>
              <a:gd name="connsiteX13" fmla="*/ 977483 w 1153279"/>
              <a:gd name="connsiteY13" fmla="*/ 1901120 h 2337679"/>
              <a:gd name="connsiteX14" fmla="*/ 607492 w 1153279"/>
              <a:gd name="connsiteY14" fmla="*/ 1930842 h 2337679"/>
              <a:gd name="connsiteX15" fmla="*/ 18155 w 1153279"/>
              <a:gd name="connsiteY15" fmla="*/ 2337679 h 2337679"/>
              <a:gd name="connsiteX16" fmla="*/ 0 w 1153279"/>
              <a:gd name="connsiteY16" fmla="*/ 2306277 h 2337679"/>
              <a:gd name="connsiteX17" fmla="*/ 577914 w 1153279"/>
              <a:gd name="connsiteY17" fmla="*/ 1902797 h 2337679"/>
              <a:gd name="connsiteX18" fmla="*/ 673956 w 1153279"/>
              <a:gd name="connsiteY18" fmla="*/ 1814042 h 2337679"/>
              <a:gd name="connsiteX19" fmla="*/ 733775 w 1153279"/>
              <a:gd name="connsiteY19" fmla="*/ 1710110 h 2337679"/>
              <a:gd name="connsiteX20" fmla="*/ 776380 w 1153279"/>
              <a:gd name="connsiteY20" fmla="*/ 1569537 h 2337679"/>
              <a:gd name="connsiteX21" fmla="*/ 785200 w 1153279"/>
              <a:gd name="connsiteY21" fmla="*/ 1442363 h 2337679"/>
              <a:gd name="connsiteX22" fmla="*/ 720017 w 1153279"/>
              <a:gd name="connsiteY22" fmla="*/ 1215311 h 2337679"/>
              <a:gd name="connsiteX23" fmla="*/ 329866 w 1153279"/>
              <a:gd name="connsiteY23" fmla="*/ 268344 h 2337679"/>
              <a:gd name="connsiteX24" fmla="*/ 258503 w 1153279"/>
              <a:gd name="connsiteY24" fmla="*/ 172525 h 2337679"/>
              <a:gd name="connsiteX25" fmla="*/ 344612 w 1153279"/>
              <a:gd name="connsiteY25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805788 w 1153279"/>
              <a:gd name="connsiteY8" fmla="*/ 714615 h 2337679"/>
              <a:gd name="connsiteX9" fmla="*/ 753426 w 1153279"/>
              <a:gd name="connsiteY9" fmla="*/ 728998 h 2337679"/>
              <a:gd name="connsiteX10" fmla="*/ 717966 w 1153279"/>
              <a:gd name="connsiteY10" fmla="*/ 871937 h 2337679"/>
              <a:gd name="connsiteX11" fmla="*/ 1085886 w 1153279"/>
              <a:gd name="connsiteY11" fmla="*/ 1274654 h 2337679"/>
              <a:gd name="connsiteX12" fmla="*/ 1153279 w 1153279"/>
              <a:gd name="connsiteY12" fmla="*/ 1669819 h 2337679"/>
              <a:gd name="connsiteX13" fmla="*/ 977483 w 1153279"/>
              <a:gd name="connsiteY13" fmla="*/ 1901120 h 2337679"/>
              <a:gd name="connsiteX14" fmla="*/ 607492 w 1153279"/>
              <a:gd name="connsiteY14" fmla="*/ 1930842 h 2337679"/>
              <a:gd name="connsiteX15" fmla="*/ 18155 w 1153279"/>
              <a:gd name="connsiteY15" fmla="*/ 2337679 h 2337679"/>
              <a:gd name="connsiteX16" fmla="*/ 0 w 1153279"/>
              <a:gd name="connsiteY16" fmla="*/ 2306277 h 2337679"/>
              <a:gd name="connsiteX17" fmla="*/ 577914 w 1153279"/>
              <a:gd name="connsiteY17" fmla="*/ 1902797 h 2337679"/>
              <a:gd name="connsiteX18" fmla="*/ 673956 w 1153279"/>
              <a:gd name="connsiteY18" fmla="*/ 1814042 h 2337679"/>
              <a:gd name="connsiteX19" fmla="*/ 733775 w 1153279"/>
              <a:gd name="connsiteY19" fmla="*/ 1710110 h 2337679"/>
              <a:gd name="connsiteX20" fmla="*/ 776380 w 1153279"/>
              <a:gd name="connsiteY20" fmla="*/ 1569537 h 2337679"/>
              <a:gd name="connsiteX21" fmla="*/ 785200 w 1153279"/>
              <a:gd name="connsiteY21" fmla="*/ 1442363 h 2337679"/>
              <a:gd name="connsiteX22" fmla="*/ 720017 w 1153279"/>
              <a:gd name="connsiteY22" fmla="*/ 1215311 h 2337679"/>
              <a:gd name="connsiteX23" fmla="*/ 329866 w 1153279"/>
              <a:gd name="connsiteY23" fmla="*/ 268344 h 2337679"/>
              <a:gd name="connsiteX24" fmla="*/ 258503 w 1153279"/>
              <a:gd name="connsiteY24" fmla="*/ 172525 h 2337679"/>
              <a:gd name="connsiteX25" fmla="*/ 344612 w 1153279"/>
              <a:gd name="connsiteY25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127306 w 1153279"/>
              <a:gd name="connsiteY2" fmla="*/ 479239 h 2337679"/>
              <a:gd name="connsiteX3" fmla="*/ 1146491 w 1153279"/>
              <a:gd name="connsiteY3" fmla="*/ 553024 h 2337679"/>
              <a:gd name="connsiteX4" fmla="*/ 944170 w 1153279"/>
              <a:gd name="connsiteY4" fmla="*/ 601016 h 2337679"/>
              <a:gd name="connsiteX5" fmla="*/ 997100 w 1153279"/>
              <a:gd name="connsiteY5" fmla="*/ 637592 h 2337679"/>
              <a:gd name="connsiteX6" fmla="*/ 932502 w 1153279"/>
              <a:gd name="connsiteY6" fmla="*/ 732006 h 2337679"/>
              <a:gd name="connsiteX7" fmla="*/ 885380 w 1153279"/>
              <a:gd name="connsiteY7" fmla="*/ 747332 h 2337679"/>
              <a:gd name="connsiteX8" fmla="*/ 805788 w 1153279"/>
              <a:gd name="connsiteY8" fmla="*/ 714615 h 2337679"/>
              <a:gd name="connsiteX9" fmla="*/ 753426 w 1153279"/>
              <a:gd name="connsiteY9" fmla="*/ 728998 h 2337679"/>
              <a:gd name="connsiteX10" fmla="*/ 725489 w 1153279"/>
              <a:gd name="connsiteY10" fmla="*/ 818107 h 2337679"/>
              <a:gd name="connsiteX11" fmla="*/ 717966 w 1153279"/>
              <a:gd name="connsiteY11" fmla="*/ 871937 h 2337679"/>
              <a:gd name="connsiteX12" fmla="*/ 1085886 w 1153279"/>
              <a:gd name="connsiteY12" fmla="*/ 1274654 h 2337679"/>
              <a:gd name="connsiteX13" fmla="*/ 1153279 w 1153279"/>
              <a:gd name="connsiteY13" fmla="*/ 1669819 h 2337679"/>
              <a:gd name="connsiteX14" fmla="*/ 977483 w 1153279"/>
              <a:gd name="connsiteY14" fmla="*/ 1901120 h 2337679"/>
              <a:gd name="connsiteX15" fmla="*/ 607492 w 1153279"/>
              <a:gd name="connsiteY15" fmla="*/ 1930842 h 2337679"/>
              <a:gd name="connsiteX16" fmla="*/ 18155 w 1153279"/>
              <a:gd name="connsiteY16" fmla="*/ 2337679 h 2337679"/>
              <a:gd name="connsiteX17" fmla="*/ 0 w 1153279"/>
              <a:gd name="connsiteY17" fmla="*/ 2306277 h 2337679"/>
              <a:gd name="connsiteX18" fmla="*/ 577914 w 1153279"/>
              <a:gd name="connsiteY18" fmla="*/ 1902797 h 2337679"/>
              <a:gd name="connsiteX19" fmla="*/ 673956 w 1153279"/>
              <a:gd name="connsiteY19" fmla="*/ 1814042 h 2337679"/>
              <a:gd name="connsiteX20" fmla="*/ 733775 w 1153279"/>
              <a:gd name="connsiteY20" fmla="*/ 1710110 h 2337679"/>
              <a:gd name="connsiteX21" fmla="*/ 776380 w 1153279"/>
              <a:gd name="connsiteY21" fmla="*/ 1569537 h 2337679"/>
              <a:gd name="connsiteX22" fmla="*/ 785200 w 1153279"/>
              <a:gd name="connsiteY22" fmla="*/ 1442363 h 2337679"/>
              <a:gd name="connsiteX23" fmla="*/ 720017 w 1153279"/>
              <a:gd name="connsiteY23" fmla="*/ 1215311 h 2337679"/>
              <a:gd name="connsiteX24" fmla="*/ 329866 w 1153279"/>
              <a:gd name="connsiteY24" fmla="*/ 268344 h 2337679"/>
              <a:gd name="connsiteX25" fmla="*/ 258503 w 1153279"/>
              <a:gd name="connsiteY25" fmla="*/ 172525 h 2337679"/>
              <a:gd name="connsiteX26" fmla="*/ 344612 w 1153279"/>
              <a:gd name="connsiteY26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052975 w 1153279"/>
              <a:gd name="connsiteY2" fmla="*/ 459372 h 2337679"/>
              <a:gd name="connsiteX3" fmla="*/ 1127306 w 1153279"/>
              <a:gd name="connsiteY3" fmla="*/ 479239 h 2337679"/>
              <a:gd name="connsiteX4" fmla="*/ 1146491 w 1153279"/>
              <a:gd name="connsiteY4" fmla="*/ 553024 h 2337679"/>
              <a:gd name="connsiteX5" fmla="*/ 944170 w 1153279"/>
              <a:gd name="connsiteY5" fmla="*/ 601016 h 2337679"/>
              <a:gd name="connsiteX6" fmla="*/ 997100 w 1153279"/>
              <a:gd name="connsiteY6" fmla="*/ 637592 h 2337679"/>
              <a:gd name="connsiteX7" fmla="*/ 932502 w 1153279"/>
              <a:gd name="connsiteY7" fmla="*/ 732006 h 2337679"/>
              <a:gd name="connsiteX8" fmla="*/ 885380 w 1153279"/>
              <a:gd name="connsiteY8" fmla="*/ 747332 h 2337679"/>
              <a:gd name="connsiteX9" fmla="*/ 805788 w 1153279"/>
              <a:gd name="connsiteY9" fmla="*/ 714615 h 2337679"/>
              <a:gd name="connsiteX10" fmla="*/ 753426 w 1153279"/>
              <a:gd name="connsiteY10" fmla="*/ 728998 h 2337679"/>
              <a:gd name="connsiteX11" fmla="*/ 725489 w 1153279"/>
              <a:gd name="connsiteY11" fmla="*/ 818107 h 2337679"/>
              <a:gd name="connsiteX12" fmla="*/ 717966 w 1153279"/>
              <a:gd name="connsiteY12" fmla="*/ 871937 h 2337679"/>
              <a:gd name="connsiteX13" fmla="*/ 1085886 w 1153279"/>
              <a:gd name="connsiteY13" fmla="*/ 1274654 h 2337679"/>
              <a:gd name="connsiteX14" fmla="*/ 1153279 w 1153279"/>
              <a:gd name="connsiteY14" fmla="*/ 1669819 h 2337679"/>
              <a:gd name="connsiteX15" fmla="*/ 977483 w 1153279"/>
              <a:gd name="connsiteY15" fmla="*/ 1901120 h 2337679"/>
              <a:gd name="connsiteX16" fmla="*/ 607492 w 1153279"/>
              <a:gd name="connsiteY16" fmla="*/ 1930842 h 2337679"/>
              <a:gd name="connsiteX17" fmla="*/ 18155 w 1153279"/>
              <a:gd name="connsiteY17" fmla="*/ 2337679 h 2337679"/>
              <a:gd name="connsiteX18" fmla="*/ 0 w 1153279"/>
              <a:gd name="connsiteY18" fmla="*/ 2306277 h 2337679"/>
              <a:gd name="connsiteX19" fmla="*/ 577914 w 1153279"/>
              <a:gd name="connsiteY19" fmla="*/ 1902797 h 2337679"/>
              <a:gd name="connsiteX20" fmla="*/ 673956 w 1153279"/>
              <a:gd name="connsiteY20" fmla="*/ 1814042 h 2337679"/>
              <a:gd name="connsiteX21" fmla="*/ 733775 w 1153279"/>
              <a:gd name="connsiteY21" fmla="*/ 1710110 h 2337679"/>
              <a:gd name="connsiteX22" fmla="*/ 776380 w 1153279"/>
              <a:gd name="connsiteY22" fmla="*/ 1569537 h 2337679"/>
              <a:gd name="connsiteX23" fmla="*/ 785200 w 1153279"/>
              <a:gd name="connsiteY23" fmla="*/ 1442363 h 2337679"/>
              <a:gd name="connsiteX24" fmla="*/ 720017 w 1153279"/>
              <a:gd name="connsiteY24" fmla="*/ 1215311 h 2337679"/>
              <a:gd name="connsiteX25" fmla="*/ 329866 w 1153279"/>
              <a:gd name="connsiteY25" fmla="*/ 268344 h 2337679"/>
              <a:gd name="connsiteX26" fmla="*/ 258503 w 1153279"/>
              <a:gd name="connsiteY26" fmla="*/ 172525 h 2337679"/>
              <a:gd name="connsiteX27" fmla="*/ 344612 w 1153279"/>
              <a:gd name="connsiteY27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039622 w 1153279"/>
              <a:gd name="connsiteY2" fmla="*/ 449395 h 2337679"/>
              <a:gd name="connsiteX3" fmla="*/ 1127306 w 1153279"/>
              <a:gd name="connsiteY3" fmla="*/ 479239 h 2337679"/>
              <a:gd name="connsiteX4" fmla="*/ 1146491 w 1153279"/>
              <a:gd name="connsiteY4" fmla="*/ 553024 h 2337679"/>
              <a:gd name="connsiteX5" fmla="*/ 944170 w 1153279"/>
              <a:gd name="connsiteY5" fmla="*/ 601016 h 2337679"/>
              <a:gd name="connsiteX6" fmla="*/ 997100 w 1153279"/>
              <a:gd name="connsiteY6" fmla="*/ 637592 h 2337679"/>
              <a:gd name="connsiteX7" fmla="*/ 932502 w 1153279"/>
              <a:gd name="connsiteY7" fmla="*/ 732006 h 2337679"/>
              <a:gd name="connsiteX8" fmla="*/ 885380 w 1153279"/>
              <a:gd name="connsiteY8" fmla="*/ 747332 h 2337679"/>
              <a:gd name="connsiteX9" fmla="*/ 805788 w 1153279"/>
              <a:gd name="connsiteY9" fmla="*/ 714615 h 2337679"/>
              <a:gd name="connsiteX10" fmla="*/ 753426 w 1153279"/>
              <a:gd name="connsiteY10" fmla="*/ 728998 h 2337679"/>
              <a:gd name="connsiteX11" fmla="*/ 725489 w 1153279"/>
              <a:gd name="connsiteY11" fmla="*/ 818107 h 2337679"/>
              <a:gd name="connsiteX12" fmla="*/ 717966 w 1153279"/>
              <a:gd name="connsiteY12" fmla="*/ 871937 h 2337679"/>
              <a:gd name="connsiteX13" fmla="*/ 1085886 w 1153279"/>
              <a:gd name="connsiteY13" fmla="*/ 1274654 h 2337679"/>
              <a:gd name="connsiteX14" fmla="*/ 1153279 w 1153279"/>
              <a:gd name="connsiteY14" fmla="*/ 1669819 h 2337679"/>
              <a:gd name="connsiteX15" fmla="*/ 977483 w 1153279"/>
              <a:gd name="connsiteY15" fmla="*/ 1901120 h 2337679"/>
              <a:gd name="connsiteX16" fmla="*/ 607492 w 1153279"/>
              <a:gd name="connsiteY16" fmla="*/ 1930842 h 2337679"/>
              <a:gd name="connsiteX17" fmla="*/ 18155 w 1153279"/>
              <a:gd name="connsiteY17" fmla="*/ 2337679 h 2337679"/>
              <a:gd name="connsiteX18" fmla="*/ 0 w 1153279"/>
              <a:gd name="connsiteY18" fmla="*/ 2306277 h 2337679"/>
              <a:gd name="connsiteX19" fmla="*/ 577914 w 1153279"/>
              <a:gd name="connsiteY19" fmla="*/ 1902797 h 2337679"/>
              <a:gd name="connsiteX20" fmla="*/ 673956 w 1153279"/>
              <a:gd name="connsiteY20" fmla="*/ 1814042 h 2337679"/>
              <a:gd name="connsiteX21" fmla="*/ 733775 w 1153279"/>
              <a:gd name="connsiteY21" fmla="*/ 1710110 h 2337679"/>
              <a:gd name="connsiteX22" fmla="*/ 776380 w 1153279"/>
              <a:gd name="connsiteY22" fmla="*/ 1569537 h 2337679"/>
              <a:gd name="connsiteX23" fmla="*/ 785200 w 1153279"/>
              <a:gd name="connsiteY23" fmla="*/ 1442363 h 2337679"/>
              <a:gd name="connsiteX24" fmla="*/ 720017 w 1153279"/>
              <a:gd name="connsiteY24" fmla="*/ 1215311 h 2337679"/>
              <a:gd name="connsiteX25" fmla="*/ 329866 w 1153279"/>
              <a:gd name="connsiteY25" fmla="*/ 268344 h 2337679"/>
              <a:gd name="connsiteX26" fmla="*/ 258503 w 1153279"/>
              <a:gd name="connsiteY26" fmla="*/ 172525 h 2337679"/>
              <a:gd name="connsiteX27" fmla="*/ 344612 w 1153279"/>
              <a:gd name="connsiteY27" fmla="*/ 0 h 2337679"/>
              <a:gd name="connsiteX0" fmla="*/ 344612 w 1153279"/>
              <a:gd name="connsiteY0" fmla="*/ 0 h 2337679"/>
              <a:gd name="connsiteX1" fmla="*/ 532070 w 1153279"/>
              <a:gd name="connsiteY1" fmla="*/ 298491 h 2337679"/>
              <a:gd name="connsiteX2" fmla="*/ 1039622 w 1153279"/>
              <a:gd name="connsiteY2" fmla="*/ 449395 h 2337679"/>
              <a:gd name="connsiteX3" fmla="*/ 1130048 w 1153279"/>
              <a:gd name="connsiteY3" fmla="*/ 415892 h 2337679"/>
              <a:gd name="connsiteX4" fmla="*/ 1146491 w 1153279"/>
              <a:gd name="connsiteY4" fmla="*/ 553024 h 2337679"/>
              <a:gd name="connsiteX5" fmla="*/ 944170 w 1153279"/>
              <a:gd name="connsiteY5" fmla="*/ 601016 h 2337679"/>
              <a:gd name="connsiteX6" fmla="*/ 997100 w 1153279"/>
              <a:gd name="connsiteY6" fmla="*/ 637592 h 2337679"/>
              <a:gd name="connsiteX7" fmla="*/ 932502 w 1153279"/>
              <a:gd name="connsiteY7" fmla="*/ 732006 h 2337679"/>
              <a:gd name="connsiteX8" fmla="*/ 885380 w 1153279"/>
              <a:gd name="connsiteY8" fmla="*/ 747332 h 2337679"/>
              <a:gd name="connsiteX9" fmla="*/ 805788 w 1153279"/>
              <a:gd name="connsiteY9" fmla="*/ 714615 h 2337679"/>
              <a:gd name="connsiteX10" fmla="*/ 753426 w 1153279"/>
              <a:gd name="connsiteY10" fmla="*/ 728998 h 2337679"/>
              <a:gd name="connsiteX11" fmla="*/ 725489 w 1153279"/>
              <a:gd name="connsiteY11" fmla="*/ 818107 h 2337679"/>
              <a:gd name="connsiteX12" fmla="*/ 717966 w 1153279"/>
              <a:gd name="connsiteY12" fmla="*/ 871937 h 2337679"/>
              <a:gd name="connsiteX13" fmla="*/ 1085886 w 1153279"/>
              <a:gd name="connsiteY13" fmla="*/ 1274654 h 2337679"/>
              <a:gd name="connsiteX14" fmla="*/ 1153279 w 1153279"/>
              <a:gd name="connsiteY14" fmla="*/ 1669819 h 2337679"/>
              <a:gd name="connsiteX15" fmla="*/ 977483 w 1153279"/>
              <a:gd name="connsiteY15" fmla="*/ 1901120 h 2337679"/>
              <a:gd name="connsiteX16" fmla="*/ 607492 w 1153279"/>
              <a:gd name="connsiteY16" fmla="*/ 1930842 h 2337679"/>
              <a:gd name="connsiteX17" fmla="*/ 18155 w 1153279"/>
              <a:gd name="connsiteY17" fmla="*/ 2337679 h 2337679"/>
              <a:gd name="connsiteX18" fmla="*/ 0 w 1153279"/>
              <a:gd name="connsiteY18" fmla="*/ 2306277 h 2337679"/>
              <a:gd name="connsiteX19" fmla="*/ 577914 w 1153279"/>
              <a:gd name="connsiteY19" fmla="*/ 1902797 h 2337679"/>
              <a:gd name="connsiteX20" fmla="*/ 673956 w 1153279"/>
              <a:gd name="connsiteY20" fmla="*/ 1814042 h 2337679"/>
              <a:gd name="connsiteX21" fmla="*/ 733775 w 1153279"/>
              <a:gd name="connsiteY21" fmla="*/ 1710110 h 2337679"/>
              <a:gd name="connsiteX22" fmla="*/ 776380 w 1153279"/>
              <a:gd name="connsiteY22" fmla="*/ 1569537 h 2337679"/>
              <a:gd name="connsiteX23" fmla="*/ 785200 w 1153279"/>
              <a:gd name="connsiteY23" fmla="*/ 1442363 h 2337679"/>
              <a:gd name="connsiteX24" fmla="*/ 720017 w 1153279"/>
              <a:gd name="connsiteY24" fmla="*/ 1215311 h 2337679"/>
              <a:gd name="connsiteX25" fmla="*/ 329866 w 1153279"/>
              <a:gd name="connsiteY25" fmla="*/ 268344 h 2337679"/>
              <a:gd name="connsiteX26" fmla="*/ 258503 w 1153279"/>
              <a:gd name="connsiteY26" fmla="*/ 172525 h 2337679"/>
              <a:gd name="connsiteX27" fmla="*/ 344612 w 1153279"/>
              <a:gd name="connsiteY27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944170 w 1200803"/>
              <a:gd name="connsiteY5" fmla="*/ 601016 h 2337679"/>
              <a:gd name="connsiteX6" fmla="*/ 997100 w 1200803"/>
              <a:gd name="connsiteY6" fmla="*/ 637592 h 2337679"/>
              <a:gd name="connsiteX7" fmla="*/ 932502 w 1200803"/>
              <a:gd name="connsiteY7" fmla="*/ 732006 h 2337679"/>
              <a:gd name="connsiteX8" fmla="*/ 885380 w 1200803"/>
              <a:gd name="connsiteY8" fmla="*/ 747332 h 2337679"/>
              <a:gd name="connsiteX9" fmla="*/ 805788 w 1200803"/>
              <a:gd name="connsiteY9" fmla="*/ 714615 h 2337679"/>
              <a:gd name="connsiteX10" fmla="*/ 753426 w 1200803"/>
              <a:gd name="connsiteY10" fmla="*/ 728998 h 2337679"/>
              <a:gd name="connsiteX11" fmla="*/ 725489 w 1200803"/>
              <a:gd name="connsiteY11" fmla="*/ 818107 h 2337679"/>
              <a:gd name="connsiteX12" fmla="*/ 717966 w 1200803"/>
              <a:gd name="connsiteY12" fmla="*/ 871937 h 2337679"/>
              <a:gd name="connsiteX13" fmla="*/ 1085886 w 1200803"/>
              <a:gd name="connsiteY13" fmla="*/ 1274654 h 2337679"/>
              <a:gd name="connsiteX14" fmla="*/ 1153279 w 1200803"/>
              <a:gd name="connsiteY14" fmla="*/ 1669819 h 2337679"/>
              <a:gd name="connsiteX15" fmla="*/ 977483 w 1200803"/>
              <a:gd name="connsiteY15" fmla="*/ 1901120 h 2337679"/>
              <a:gd name="connsiteX16" fmla="*/ 607492 w 1200803"/>
              <a:gd name="connsiteY16" fmla="*/ 1930842 h 2337679"/>
              <a:gd name="connsiteX17" fmla="*/ 18155 w 1200803"/>
              <a:gd name="connsiteY17" fmla="*/ 2337679 h 2337679"/>
              <a:gd name="connsiteX18" fmla="*/ 0 w 1200803"/>
              <a:gd name="connsiteY18" fmla="*/ 2306277 h 2337679"/>
              <a:gd name="connsiteX19" fmla="*/ 577914 w 1200803"/>
              <a:gd name="connsiteY19" fmla="*/ 1902797 h 2337679"/>
              <a:gd name="connsiteX20" fmla="*/ 673956 w 1200803"/>
              <a:gd name="connsiteY20" fmla="*/ 1814042 h 2337679"/>
              <a:gd name="connsiteX21" fmla="*/ 733775 w 1200803"/>
              <a:gd name="connsiteY21" fmla="*/ 1710110 h 2337679"/>
              <a:gd name="connsiteX22" fmla="*/ 776380 w 1200803"/>
              <a:gd name="connsiteY22" fmla="*/ 1569537 h 2337679"/>
              <a:gd name="connsiteX23" fmla="*/ 785200 w 1200803"/>
              <a:gd name="connsiteY23" fmla="*/ 1442363 h 2337679"/>
              <a:gd name="connsiteX24" fmla="*/ 720017 w 1200803"/>
              <a:gd name="connsiteY24" fmla="*/ 1215311 h 2337679"/>
              <a:gd name="connsiteX25" fmla="*/ 329866 w 1200803"/>
              <a:gd name="connsiteY25" fmla="*/ 268344 h 2337679"/>
              <a:gd name="connsiteX26" fmla="*/ 258503 w 1200803"/>
              <a:gd name="connsiteY26" fmla="*/ 172525 h 2337679"/>
              <a:gd name="connsiteX27" fmla="*/ 344612 w 1200803"/>
              <a:gd name="connsiteY27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070820 w 1200803"/>
              <a:gd name="connsiteY5" fmla="*/ 582689 h 2337679"/>
              <a:gd name="connsiteX6" fmla="*/ 944170 w 1200803"/>
              <a:gd name="connsiteY6" fmla="*/ 601016 h 2337679"/>
              <a:gd name="connsiteX7" fmla="*/ 997100 w 1200803"/>
              <a:gd name="connsiteY7" fmla="*/ 637592 h 2337679"/>
              <a:gd name="connsiteX8" fmla="*/ 932502 w 1200803"/>
              <a:gd name="connsiteY8" fmla="*/ 732006 h 2337679"/>
              <a:gd name="connsiteX9" fmla="*/ 885380 w 1200803"/>
              <a:gd name="connsiteY9" fmla="*/ 747332 h 2337679"/>
              <a:gd name="connsiteX10" fmla="*/ 805788 w 1200803"/>
              <a:gd name="connsiteY10" fmla="*/ 714615 h 2337679"/>
              <a:gd name="connsiteX11" fmla="*/ 753426 w 1200803"/>
              <a:gd name="connsiteY11" fmla="*/ 728998 h 2337679"/>
              <a:gd name="connsiteX12" fmla="*/ 725489 w 1200803"/>
              <a:gd name="connsiteY12" fmla="*/ 818107 h 2337679"/>
              <a:gd name="connsiteX13" fmla="*/ 717966 w 1200803"/>
              <a:gd name="connsiteY13" fmla="*/ 871937 h 2337679"/>
              <a:gd name="connsiteX14" fmla="*/ 1085886 w 1200803"/>
              <a:gd name="connsiteY14" fmla="*/ 1274654 h 2337679"/>
              <a:gd name="connsiteX15" fmla="*/ 1153279 w 1200803"/>
              <a:gd name="connsiteY15" fmla="*/ 1669819 h 2337679"/>
              <a:gd name="connsiteX16" fmla="*/ 977483 w 1200803"/>
              <a:gd name="connsiteY16" fmla="*/ 1901120 h 2337679"/>
              <a:gd name="connsiteX17" fmla="*/ 607492 w 1200803"/>
              <a:gd name="connsiteY17" fmla="*/ 1930842 h 2337679"/>
              <a:gd name="connsiteX18" fmla="*/ 18155 w 1200803"/>
              <a:gd name="connsiteY18" fmla="*/ 2337679 h 2337679"/>
              <a:gd name="connsiteX19" fmla="*/ 0 w 1200803"/>
              <a:gd name="connsiteY19" fmla="*/ 2306277 h 2337679"/>
              <a:gd name="connsiteX20" fmla="*/ 577914 w 1200803"/>
              <a:gd name="connsiteY20" fmla="*/ 1902797 h 2337679"/>
              <a:gd name="connsiteX21" fmla="*/ 673956 w 1200803"/>
              <a:gd name="connsiteY21" fmla="*/ 1814042 h 2337679"/>
              <a:gd name="connsiteX22" fmla="*/ 733775 w 1200803"/>
              <a:gd name="connsiteY22" fmla="*/ 1710110 h 2337679"/>
              <a:gd name="connsiteX23" fmla="*/ 776380 w 1200803"/>
              <a:gd name="connsiteY23" fmla="*/ 1569537 h 2337679"/>
              <a:gd name="connsiteX24" fmla="*/ 785200 w 1200803"/>
              <a:gd name="connsiteY24" fmla="*/ 1442363 h 2337679"/>
              <a:gd name="connsiteX25" fmla="*/ 720017 w 1200803"/>
              <a:gd name="connsiteY25" fmla="*/ 1215311 h 2337679"/>
              <a:gd name="connsiteX26" fmla="*/ 329866 w 1200803"/>
              <a:gd name="connsiteY26" fmla="*/ 268344 h 2337679"/>
              <a:gd name="connsiteX27" fmla="*/ 258503 w 1200803"/>
              <a:gd name="connsiteY27" fmla="*/ 172525 h 2337679"/>
              <a:gd name="connsiteX28" fmla="*/ 344612 w 1200803"/>
              <a:gd name="connsiteY28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944170 w 1200803"/>
              <a:gd name="connsiteY6" fmla="*/ 601016 h 2337679"/>
              <a:gd name="connsiteX7" fmla="*/ 997100 w 1200803"/>
              <a:gd name="connsiteY7" fmla="*/ 637592 h 2337679"/>
              <a:gd name="connsiteX8" fmla="*/ 932502 w 1200803"/>
              <a:gd name="connsiteY8" fmla="*/ 732006 h 2337679"/>
              <a:gd name="connsiteX9" fmla="*/ 885380 w 1200803"/>
              <a:gd name="connsiteY9" fmla="*/ 747332 h 2337679"/>
              <a:gd name="connsiteX10" fmla="*/ 805788 w 1200803"/>
              <a:gd name="connsiteY10" fmla="*/ 714615 h 2337679"/>
              <a:gd name="connsiteX11" fmla="*/ 753426 w 1200803"/>
              <a:gd name="connsiteY11" fmla="*/ 728998 h 2337679"/>
              <a:gd name="connsiteX12" fmla="*/ 725489 w 1200803"/>
              <a:gd name="connsiteY12" fmla="*/ 818107 h 2337679"/>
              <a:gd name="connsiteX13" fmla="*/ 717966 w 1200803"/>
              <a:gd name="connsiteY13" fmla="*/ 871937 h 2337679"/>
              <a:gd name="connsiteX14" fmla="*/ 1085886 w 1200803"/>
              <a:gd name="connsiteY14" fmla="*/ 1274654 h 2337679"/>
              <a:gd name="connsiteX15" fmla="*/ 1153279 w 1200803"/>
              <a:gd name="connsiteY15" fmla="*/ 1669819 h 2337679"/>
              <a:gd name="connsiteX16" fmla="*/ 977483 w 1200803"/>
              <a:gd name="connsiteY16" fmla="*/ 1901120 h 2337679"/>
              <a:gd name="connsiteX17" fmla="*/ 607492 w 1200803"/>
              <a:gd name="connsiteY17" fmla="*/ 1930842 h 2337679"/>
              <a:gd name="connsiteX18" fmla="*/ 18155 w 1200803"/>
              <a:gd name="connsiteY18" fmla="*/ 2337679 h 2337679"/>
              <a:gd name="connsiteX19" fmla="*/ 0 w 1200803"/>
              <a:gd name="connsiteY19" fmla="*/ 2306277 h 2337679"/>
              <a:gd name="connsiteX20" fmla="*/ 577914 w 1200803"/>
              <a:gd name="connsiteY20" fmla="*/ 1902797 h 2337679"/>
              <a:gd name="connsiteX21" fmla="*/ 673956 w 1200803"/>
              <a:gd name="connsiteY21" fmla="*/ 1814042 h 2337679"/>
              <a:gd name="connsiteX22" fmla="*/ 733775 w 1200803"/>
              <a:gd name="connsiteY22" fmla="*/ 1710110 h 2337679"/>
              <a:gd name="connsiteX23" fmla="*/ 776380 w 1200803"/>
              <a:gd name="connsiteY23" fmla="*/ 1569537 h 2337679"/>
              <a:gd name="connsiteX24" fmla="*/ 785200 w 1200803"/>
              <a:gd name="connsiteY24" fmla="*/ 1442363 h 2337679"/>
              <a:gd name="connsiteX25" fmla="*/ 720017 w 1200803"/>
              <a:gd name="connsiteY25" fmla="*/ 1215311 h 2337679"/>
              <a:gd name="connsiteX26" fmla="*/ 329866 w 1200803"/>
              <a:gd name="connsiteY26" fmla="*/ 268344 h 2337679"/>
              <a:gd name="connsiteX27" fmla="*/ 258503 w 1200803"/>
              <a:gd name="connsiteY27" fmla="*/ 172525 h 2337679"/>
              <a:gd name="connsiteX28" fmla="*/ 344612 w 1200803"/>
              <a:gd name="connsiteY28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36087 w 1200803"/>
              <a:gd name="connsiteY6" fmla="*/ 601326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85886 w 1200803"/>
              <a:gd name="connsiteY15" fmla="*/ 1274654 h 2337679"/>
              <a:gd name="connsiteX16" fmla="*/ 1153279 w 1200803"/>
              <a:gd name="connsiteY16" fmla="*/ 1669819 h 2337679"/>
              <a:gd name="connsiteX17" fmla="*/ 977483 w 1200803"/>
              <a:gd name="connsiteY17" fmla="*/ 1901120 h 2337679"/>
              <a:gd name="connsiteX18" fmla="*/ 607492 w 1200803"/>
              <a:gd name="connsiteY18" fmla="*/ 1930842 h 2337679"/>
              <a:gd name="connsiteX19" fmla="*/ 18155 w 1200803"/>
              <a:gd name="connsiteY19" fmla="*/ 2337679 h 2337679"/>
              <a:gd name="connsiteX20" fmla="*/ 0 w 1200803"/>
              <a:gd name="connsiteY20" fmla="*/ 2306277 h 2337679"/>
              <a:gd name="connsiteX21" fmla="*/ 577914 w 1200803"/>
              <a:gd name="connsiteY21" fmla="*/ 1902797 h 2337679"/>
              <a:gd name="connsiteX22" fmla="*/ 673956 w 1200803"/>
              <a:gd name="connsiteY22" fmla="*/ 1814042 h 2337679"/>
              <a:gd name="connsiteX23" fmla="*/ 733775 w 1200803"/>
              <a:gd name="connsiteY23" fmla="*/ 1710110 h 2337679"/>
              <a:gd name="connsiteX24" fmla="*/ 776380 w 1200803"/>
              <a:gd name="connsiteY24" fmla="*/ 1569537 h 2337679"/>
              <a:gd name="connsiteX25" fmla="*/ 785200 w 1200803"/>
              <a:gd name="connsiteY25" fmla="*/ 1442363 h 2337679"/>
              <a:gd name="connsiteX26" fmla="*/ 720017 w 1200803"/>
              <a:gd name="connsiteY26" fmla="*/ 1215311 h 2337679"/>
              <a:gd name="connsiteX27" fmla="*/ 329866 w 1200803"/>
              <a:gd name="connsiteY27" fmla="*/ 268344 h 2337679"/>
              <a:gd name="connsiteX28" fmla="*/ 258503 w 1200803"/>
              <a:gd name="connsiteY28" fmla="*/ 172525 h 2337679"/>
              <a:gd name="connsiteX29" fmla="*/ 344612 w 1200803"/>
              <a:gd name="connsiteY29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85886 w 1200803"/>
              <a:gd name="connsiteY15" fmla="*/ 1274654 h 2337679"/>
              <a:gd name="connsiteX16" fmla="*/ 1153279 w 1200803"/>
              <a:gd name="connsiteY16" fmla="*/ 1669819 h 2337679"/>
              <a:gd name="connsiteX17" fmla="*/ 977483 w 1200803"/>
              <a:gd name="connsiteY17" fmla="*/ 1901120 h 2337679"/>
              <a:gd name="connsiteX18" fmla="*/ 607492 w 1200803"/>
              <a:gd name="connsiteY18" fmla="*/ 1930842 h 2337679"/>
              <a:gd name="connsiteX19" fmla="*/ 18155 w 1200803"/>
              <a:gd name="connsiteY19" fmla="*/ 2337679 h 2337679"/>
              <a:gd name="connsiteX20" fmla="*/ 0 w 1200803"/>
              <a:gd name="connsiteY20" fmla="*/ 2306277 h 2337679"/>
              <a:gd name="connsiteX21" fmla="*/ 577914 w 1200803"/>
              <a:gd name="connsiteY21" fmla="*/ 1902797 h 2337679"/>
              <a:gd name="connsiteX22" fmla="*/ 673956 w 1200803"/>
              <a:gd name="connsiteY22" fmla="*/ 1814042 h 2337679"/>
              <a:gd name="connsiteX23" fmla="*/ 733775 w 1200803"/>
              <a:gd name="connsiteY23" fmla="*/ 1710110 h 2337679"/>
              <a:gd name="connsiteX24" fmla="*/ 776380 w 1200803"/>
              <a:gd name="connsiteY24" fmla="*/ 1569537 h 2337679"/>
              <a:gd name="connsiteX25" fmla="*/ 785200 w 1200803"/>
              <a:gd name="connsiteY25" fmla="*/ 1442363 h 2337679"/>
              <a:gd name="connsiteX26" fmla="*/ 720017 w 1200803"/>
              <a:gd name="connsiteY26" fmla="*/ 1215311 h 2337679"/>
              <a:gd name="connsiteX27" fmla="*/ 329866 w 1200803"/>
              <a:gd name="connsiteY27" fmla="*/ 268344 h 2337679"/>
              <a:gd name="connsiteX28" fmla="*/ 258503 w 1200803"/>
              <a:gd name="connsiteY28" fmla="*/ 172525 h 2337679"/>
              <a:gd name="connsiteX29" fmla="*/ 344612 w 1200803"/>
              <a:gd name="connsiteY29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997613 w 1200803"/>
              <a:gd name="connsiteY15" fmla="*/ 1181946 h 2337679"/>
              <a:gd name="connsiteX16" fmla="*/ 1085886 w 1200803"/>
              <a:gd name="connsiteY16" fmla="*/ 1274654 h 2337679"/>
              <a:gd name="connsiteX17" fmla="*/ 1153279 w 1200803"/>
              <a:gd name="connsiteY17" fmla="*/ 1669819 h 2337679"/>
              <a:gd name="connsiteX18" fmla="*/ 977483 w 1200803"/>
              <a:gd name="connsiteY18" fmla="*/ 1901120 h 2337679"/>
              <a:gd name="connsiteX19" fmla="*/ 607492 w 1200803"/>
              <a:gd name="connsiteY19" fmla="*/ 1930842 h 2337679"/>
              <a:gd name="connsiteX20" fmla="*/ 18155 w 1200803"/>
              <a:gd name="connsiteY20" fmla="*/ 2337679 h 2337679"/>
              <a:gd name="connsiteX21" fmla="*/ 0 w 1200803"/>
              <a:gd name="connsiteY21" fmla="*/ 2306277 h 2337679"/>
              <a:gd name="connsiteX22" fmla="*/ 577914 w 1200803"/>
              <a:gd name="connsiteY22" fmla="*/ 1902797 h 2337679"/>
              <a:gd name="connsiteX23" fmla="*/ 673956 w 1200803"/>
              <a:gd name="connsiteY23" fmla="*/ 1814042 h 2337679"/>
              <a:gd name="connsiteX24" fmla="*/ 733775 w 1200803"/>
              <a:gd name="connsiteY24" fmla="*/ 1710110 h 2337679"/>
              <a:gd name="connsiteX25" fmla="*/ 776380 w 1200803"/>
              <a:gd name="connsiteY25" fmla="*/ 1569537 h 2337679"/>
              <a:gd name="connsiteX26" fmla="*/ 785200 w 1200803"/>
              <a:gd name="connsiteY26" fmla="*/ 1442363 h 2337679"/>
              <a:gd name="connsiteX27" fmla="*/ 720017 w 1200803"/>
              <a:gd name="connsiteY27" fmla="*/ 1215311 h 2337679"/>
              <a:gd name="connsiteX28" fmla="*/ 329866 w 1200803"/>
              <a:gd name="connsiteY28" fmla="*/ 268344 h 2337679"/>
              <a:gd name="connsiteX29" fmla="*/ 258503 w 1200803"/>
              <a:gd name="connsiteY29" fmla="*/ 172525 h 2337679"/>
              <a:gd name="connsiteX30" fmla="*/ 344612 w 1200803"/>
              <a:gd name="connsiteY30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85886 w 1200803"/>
              <a:gd name="connsiteY16" fmla="*/ 1274654 h 2337679"/>
              <a:gd name="connsiteX17" fmla="*/ 1153279 w 1200803"/>
              <a:gd name="connsiteY17" fmla="*/ 1669819 h 2337679"/>
              <a:gd name="connsiteX18" fmla="*/ 977483 w 1200803"/>
              <a:gd name="connsiteY18" fmla="*/ 1901120 h 2337679"/>
              <a:gd name="connsiteX19" fmla="*/ 607492 w 1200803"/>
              <a:gd name="connsiteY19" fmla="*/ 1930842 h 2337679"/>
              <a:gd name="connsiteX20" fmla="*/ 18155 w 1200803"/>
              <a:gd name="connsiteY20" fmla="*/ 2337679 h 2337679"/>
              <a:gd name="connsiteX21" fmla="*/ 0 w 1200803"/>
              <a:gd name="connsiteY21" fmla="*/ 2306277 h 2337679"/>
              <a:gd name="connsiteX22" fmla="*/ 577914 w 1200803"/>
              <a:gd name="connsiteY22" fmla="*/ 1902797 h 2337679"/>
              <a:gd name="connsiteX23" fmla="*/ 673956 w 1200803"/>
              <a:gd name="connsiteY23" fmla="*/ 1814042 h 2337679"/>
              <a:gd name="connsiteX24" fmla="*/ 733775 w 1200803"/>
              <a:gd name="connsiteY24" fmla="*/ 1710110 h 2337679"/>
              <a:gd name="connsiteX25" fmla="*/ 776380 w 1200803"/>
              <a:gd name="connsiteY25" fmla="*/ 1569537 h 2337679"/>
              <a:gd name="connsiteX26" fmla="*/ 785200 w 1200803"/>
              <a:gd name="connsiteY26" fmla="*/ 1442363 h 2337679"/>
              <a:gd name="connsiteX27" fmla="*/ 720017 w 1200803"/>
              <a:gd name="connsiteY27" fmla="*/ 1215311 h 2337679"/>
              <a:gd name="connsiteX28" fmla="*/ 329866 w 1200803"/>
              <a:gd name="connsiteY28" fmla="*/ 268344 h 2337679"/>
              <a:gd name="connsiteX29" fmla="*/ 258503 w 1200803"/>
              <a:gd name="connsiteY29" fmla="*/ 172525 h 2337679"/>
              <a:gd name="connsiteX30" fmla="*/ 344612 w 1200803"/>
              <a:gd name="connsiteY30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64838 w 1200803"/>
              <a:gd name="connsiteY16" fmla="*/ 1223257 h 2337679"/>
              <a:gd name="connsiteX17" fmla="*/ 1153279 w 1200803"/>
              <a:gd name="connsiteY17" fmla="*/ 1669819 h 2337679"/>
              <a:gd name="connsiteX18" fmla="*/ 977483 w 1200803"/>
              <a:gd name="connsiteY18" fmla="*/ 1901120 h 2337679"/>
              <a:gd name="connsiteX19" fmla="*/ 607492 w 1200803"/>
              <a:gd name="connsiteY19" fmla="*/ 1930842 h 2337679"/>
              <a:gd name="connsiteX20" fmla="*/ 18155 w 1200803"/>
              <a:gd name="connsiteY20" fmla="*/ 2337679 h 2337679"/>
              <a:gd name="connsiteX21" fmla="*/ 0 w 1200803"/>
              <a:gd name="connsiteY21" fmla="*/ 2306277 h 2337679"/>
              <a:gd name="connsiteX22" fmla="*/ 577914 w 1200803"/>
              <a:gd name="connsiteY22" fmla="*/ 1902797 h 2337679"/>
              <a:gd name="connsiteX23" fmla="*/ 673956 w 1200803"/>
              <a:gd name="connsiteY23" fmla="*/ 1814042 h 2337679"/>
              <a:gd name="connsiteX24" fmla="*/ 733775 w 1200803"/>
              <a:gd name="connsiteY24" fmla="*/ 1710110 h 2337679"/>
              <a:gd name="connsiteX25" fmla="*/ 776380 w 1200803"/>
              <a:gd name="connsiteY25" fmla="*/ 1569537 h 2337679"/>
              <a:gd name="connsiteX26" fmla="*/ 785200 w 1200803"/>
              <a:gd name="connsiteY26" fmla="*/ 1442363 h 2337679"/>
              <a:gd name="connsiteX27" fmla="*/ 720017 w 1200803"/>
              <a:gd name="connsiteY27" fmla="*/ 1215311 h 2337679"/>
              <a:gd name="connsiteX28" fmla="*/ 329866 w 1200803"/>
              <a:gd name="connsiteY28" fmla="*/ 268344 h 2337679"/>
              <a:gd name="connsiteX29" fmla="*/ 258503 w 1200803"/>
              <a:gd name="connsiteY29" fmla="*/ 172525 h 2337679"/>
              <a:gd name="connsiteX30" fmla="*/ 344612 w 1200803"/>
              <a:gd name="connsiteY30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64838 w 1200803"/>
              <a:gd name="connsiteY16" fmla="*/ 1223257 h 2337679"/>
              <a:gd name="connsiteX17" fmla="*/ 1099917 w 1200803"/>
              <a:gd name="connsiteY17" fmla="*/ 1395121 h 2337679"/>
              <a:gd name="connsiteX18" fmla="*/ 1153279 w 1200803"/>
              <a:gd name="connsiteY18" fmla="*/ 1669819 h 2337679"/>
              <a:gd name="connsiteX19" fmla="*/ 977483 w 1200803"/>
              <a:gd name="connsiteY19" fmla="*/ 1901120 h 2337679"/>
              <a:gd name="connsiteX20" fmla="*/ 607492 w 1200803"/>
              <a:gd name="connsiteY20" fmla="*/ 1930842 h 2337679"/>
              <a:gd name="connsiteX21" fmla="*/ 18155 w 1200803"/>
              <a:gd name="connsiteY21" fmla="*/ 2337679 h 2337679"/>
              <a:gd name="connsiteX22" fmla="*/ 0 w 1200803"/>
              <a:gd name="connsiteY22" fmla="*/ 2306277 h 2337679"/>
              <a:gd name="connsiteX23" fmla="*/ 577914 w 1200803"/>
              <a:gd name="connsiteY23" fmla="*/ 1902797 h 2337679"/>
              <a:gd name="connsiteX24" fmla="*/ 673956 w 1200803"/>
              <a:gd name="connsiteY24" fmla="*/ 1814042 h 2337679"/>
              <a:gd name="connsiteX25" fmla="*/ 733775 w 1200803"/>
              <a:gd name="connsiteY25" fmla="*/ 1710110 h 2337679"/>
              <a:gd name="connsiteX26" fmla="*/ 776380 w 1200803"/>
              <a:gd name="connsiteY26" fmla="*/ 1569537 h 2337679"/>
              <a:gd name="connsiteX27" fmla="*/ 785200 w 1200803"/>
              <a:gd name="connsiteY27" fmla="*/ 1442363 h 2337679"/>
              <a:gd name="connsiteX28" fmla="*/ 720017 w 1200803"/>
              <a:gd name="connsiteY28" fmla="*/ 1215311 h 2337679"/>
              <a:gd name="connsiteX29" fmla="*/ 329866 w 1200803"/>
              <a:gd name="connsiteY29" fmla="*/ 268344 h 2337679"/>
              <a:gd name="connsiteX30" fmla="*/ 258503 w 1200803"/>
              <a:gd name="connsiteY30" fmla="*/ 172525 h 2337679"/>
              <a:gd name="connsiteX31" fmla="*/ 344612 w 1200803"/>
              <a:gd name="connsiteY31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64838 w 1200803"/>
              <a:gd name="connsiteY16" fmla="*/ 1223257 h 2337679"/>
              <a:gd name="connsiteX17" fmla="*/ 1097794 w 1200803"/>
              <a:gd name="connsiteY17" fmla="*/ 1274634 h 2337679"/>
              <a:gd name="connsiteX18" fmla="*/ 1153279 w 1200803"/>
              <a:gd name="connsiteY18" fmla="*/ 1669819 h 2337679"/>
              <a:gd name="connsiteX19" fmla="*/ 977483 w 1200803"/>
              <a:gd name="connsiteY19" fmla="*/ 1901120 h 2337679"/>
              <a:gd name="connsiteX20" fmla="*/ 607492 w 1200803"/>
              <a:gd name="connsiteY20" fmla="*/ 1930842 h 2337679"/>
              <a:gd name="connsiteX21" fmla="*/ 18155 w 1200803"/>
              <a:gd name="connsiteY21" fmla="*/ 2337679 h 2337679"/>
              <a:gd name="connsiteX22" fmla="*/ 0 w 1200803"/>
              <a:gd name="connsiteY22" fmla="*/ 2306277 h 2337679"/>
              <a:gd name="connsiteX23" fmla="*/ 577914 w 1200803"/>
              <a:gd name="connsiteY23" fmla="*/ 1902797 h 2337679"/>
              <a:gd name="connsiteX24" fmla="*/ 673956 w 1200803"/>
              <a:gd name="connsiteY24" fmla="*/ 1814042 h 2337679"/>
              <a:gd name="connsiteX25" fmla="*/ 733775 w 1200803"/>
              <a:gd name="connsiteY25" fmla="*/ 1710110 h 2337679"/>
              <a:gd name="connsiteX26" fmla="*/ 776380 w 1200803"/>
              <a:gd name="connsiteY26" fmla="*/ 1569537 h 2337679"/>
              <a:gd name="connsiteX27" fmla="*/ 785200 w 1200803"/>
              <a:gd name="connsiteY27" fmla="*/ 1442363 h 2337679"/>
              <a:gd name="connsiteX28" fmla="*/ 720017 w 1200803"/>
              <a:gd name="connsiteY28" fmla="*/ 1215311 h 2337679"/>
              <a:gd name="connsiteX29" fmla="*/ 329866 w 1200803"/>
              <a:gd name="connsiteY29" fmla="*/ 268344 h 2337679"/>
              <a:gd name="connsiteX30" fmla="*/ 258503 w 1200803"/>
              <a:gd name="connsiteY30" fmla="*/ 172525 h 2337679"/>
              <a:gd name="connsiteX31" fmla="*/ 344612 w 1200803"/>
              <a:gd name="connsiteY31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64838 w 1200803"/>
              <a:gd name="connsiteY16" fmla="*/ 1223257 h 2337679"/>
              <a:gd name="connsiteX17" fmla="*/ 1097794 w 1200803"/>
              <a:gd name="connsiteY17" fmla="*/ 1274634 h 2337679"/>
              <a:gd name="connsiteX18" fmla="*/ 1120044 w 1200803"/>
              <a:gd name="connsiteY18" fmla="*/ 1463664 h 2337679"/>
              <a:gd name="connsiteX19" fmla="*/ 1153279 w 1200803"/>
              <a:gd name="connsiteY19" fmla="*/ 1669819 h 2337679"/>
              <a:gd name="connsiteX20" fmla="*/ 977483 w 1200803"/>
              <a:gd name="connsiteY20" fmla="*/ 1901120 h 2337679"/>
              <a:gd name="connsiteX21" fmla="*/ 607492 w 1200803"/>
              <a:gd name="connsiteY21" fmla="*/ 1930842 h 2337679"/>
              <a:gd name="connsiteX22" fmla="*/ 18155 w 1200803"/>
              <a:gd name="connsiteY22" fmla="*/ 2337679 h 2337679"/>
              <a:gd name="connsiteX23" fmla="*/ 0 w 1200803"/>
              <a:gd name="connsiteY23" fmla="*/ 2306277 h 2337679"/>
              <a:gd name="connsiteX24" fmla="*/ 577914 w 1200803"/>
              <a:gd name="connsiteY24" fmla="*/ 1902797 h 2337679"/>
              <a:gd name="connsiteX25" fmla="*/ 673956 w 1200803"/>
              <a:gd name="connsiteY25" fmla="*/ 1814042 h 2337679"/>
              <a:gd name="connsiteX26" fmla="*/ 733775 w 1200803"/>
              <a:gd name="connsiteY26" fmla="*/ 1710110 h 2337679"/>
              <a:gd name="connsiteX27" fmla="*/ 776380 w 1200803"/>
              <a:gd name="connsiteY27" fmla="*/ 1569537 h 2337679"/>
              <a:gd name="connsiteX28" fmla="*/ 785200 w 1200803"/>
              <a:gd name="connsiteY28" fmla="*/ 1442363 h 2337679"/>
              <a:gd name="connsiteX29" fmla="*/ 720017 w 1200803"/>
              <a:gd name="connsiteY29" fmla="*/ 1215311 h 2337679"/>
              <a:gd name="connsiteX30" fmla="*/ 329866 w 1200803"/>
              <a:gd name="connsiteY30" fmla="*/ 268344 h 2337679"/>
              <a:gd name="connsiteX31" fmla="*/ 258503 w 1200803"/>
              <a:gd name="connsiteY31" fmla="*/ 172525 h 2337679"/>
              <a:gd name="connsiteX32" fmla="*/ 344612 w 1200803"/>
              <a:gd name="connsiteY32" fmla="*/ 0 h 2337679"/>
              <a:gd name="connsiteX0" fmla="*/ 344612 w 1200803"/>
              <a:gd name="connsiteY0" fmla="*/ 0 h 2337679"/>
              <a:gd name="connsiteX1" fmla="*/ 532070 w 1200803"/>
              <a:gd name="connsiteY1" fmla="*/ 298491 h 2337679"/>
              <a:gd name="connsiteX2" fmla="*/ 1039622 w 1200803"/>
              <a:gd name="connsiteY2" fmla="*/ 449395 h 2337679"/>
              <a:gd name="connsiteX3" fmla="*/ 1130048 w 1200803"/>
              <a:gd name="connsiteY3" fmla="*/ 415892 h 2337679"/>
              <a:gd name="connsiteX4" fmla="*/ 1200803 w 1200803"/>
              <a:gd name="connsiteY4" fmla="*/ 563879 h 2337679"/>
              <a:gd name="connsiteX5" fmla="*/ 1149427 w 1200803"/>
              <a:gd name="connsiteY5" fmla="*/ 596834 h 2337679"/>
              <a:gd name="connsiteX6" fmla="*/ 1049376 w 1200803"/>
              <a:gd name="connsiteY6" fmla="*/ 575585 h 2337679"/>
              <a:gd name="connsiteX7" fmla="*/ 944170 w 1200803"/>
              <a:gd name="connsiteY7" fmla="*/ 601016 h 2337679"/>
              <a:gd name="connsiteX8" fmla="*/ 997100 w 1200803"/>
              <a:gd name="connsiteY8" fmla="*/ 637592 h 2337679"/>
              <a:gd name="connsiteX9" fmla="*/ 932502 w 1200803"/>
              <a:gd name="connsiteY9" fmla="*/ 732006 h 2337679"/>
              <a:gd name="connsiteX10" fmla="*/ 885380 w 1200803"/>
              <a:gd name="connsiteY10" fmla="*/ 747332 h 2337679"/>
              <a:gd name="connsiteX11" fmla="*/ 805788 w 1200803"/>
              <a:gd name="connsiteY11" fmla="*/ 714615 h 2337679"/>
              <a:gd name="connsiteX12" fmla="*/ 753426 w 1200803"/>
              <a:gd name="connsiteY12" fmla="*/ 728998 h 2337679"/>
              <a:gd name="connsiteX13" fmla="*/ 725489 w 1200803"/>
              <a:gd name="connsiteY13" fmla="*/ 818107 h 2337679"/>
              <a:gd name="connsiteX14" fmla="*/ 717966 w 1200803"/>
              <a:gd name="connsiteY14" fmla="*/ 871937 h 2337679"/>
              <a:gd name="connsiteX15" fmla="*/ 1003400 w 1200803"/>
              <a:gd name="connsiteY15" fmla="*/ 1221940 h 2337679"/>
              <a:gd name="connsiteX16" fmla="*/ 1064838 w 1200803"/>
              <a:gd name="connsiteY16" fmla="*/ 1223257 h 2337679"/>
              <a:gd name="connsiteX17" fmla="*/ 1097794 w 1200803"/>
              <a:gd name="connsiteY17" fmla="*/ 1274634 h 2337679"/>
              <a:gd name="connsiteX18" fmla="*/ 1078451 w 1200803"/>
              <a:gd name="connsiteY18" fmla="*/ 1376109 h 2337679"/>
              <a:gd name="connsiteX19" fmla="*/ 1153279 w 1200803"/>
              <a:gd name="connsiteY19" fmla="*/ 1669819 h 2337679"/>
              <a:gd name="connsiteX20" fmla="*/ 977483 w 1200803"/>
              <a:gd name="connsiteY20" fmla="*/ 1901120 h 2337679"/>
              <a:gd name="connsiteX21" fmla="*/ 607492 w 1200803"/>
              <a:gd name="connsiteY21" fmla="*/ 1930842 h 2337679"/>
              <a:gd name="connsiteX22" fmla="*/ 18155 w 1200803"/>
              <a:gd name="connsiteY22" fmla="*/ 2337679 h 2337679"/>
              <a:gd name="connsiteX23" fmla="*/ 0 w 1200803"/>
              <a:gd name="connsiteY23" fmla="*/ 2306277 h 2337679"/>
              <a:gd name="connsiteX24" fmla="*/ 577914 w 1200803"/>
              <a:gd name="connsiteY24" fmla="*/ 1902797 h 2337679"/>
              <a:gd name="connsiteX25" fmla="*/ 673956 w 1200803"/>
              <a:gd name="connsiteY25" fmla="*/ 1814042 h 2337679"/>
              <a:gd name="connsiteX26" fmla="*/ 733775 w 1200803"/>
              <a:gd name="connsiteY26" fmla="*/ 1710110 h 2337679"/>
              <a:gd name="connsiteX27" fmla="*/ 776380 w 1200803"/>
              <a:gd name="connsiteY27" fmla="*/ 1569537 h 2337679"/>
              <a:gd name="connsiteX28" fmla="*/ 785200 w 1200803"/>
              <a:gd name="connsiteY28" fmla="*/ 1442363 h 2337679"/>
              <a:gd name="connsiteX29" fmla="*/ 720017 w 1200803"/>
              <a:gd name="connsiteY29" fmla="*/ 1215311 h 2337679"/>
              <a:gd name="connsiteX30" fmla="*/ 329866 w 1200803"/>
              <a:gd name="connsiteY30" fmla="*/ 268344 h 2337679"/>
              <a:gd name="connsiteX31" fmla="*/ 258503 w 1200803"/>
              <a:gd name="connsiteY31" fmla="*/ 172525 h 2337679"/>
              <a:gd name="connsiteX32" fmla="*/ 344612 w 1200803"/>
              <a:gd name="connsiteY32" fmla="*/ 0 h 2337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1200803" h="2337679">
                <a:moveTo>
                  <a:pt x="344612" y="0"/>
                </a:moveTo>
                <a:lnTo>
                  <a:pt x="532070" y="298491"/>
                </a:lnTo>
                <a:lnTo>
                  <a:pt x="1039622" y="449395"/>
                </a:lnTo>
                <a:lnTo>
                  <a:pt x="1130048" y="415892"/>
                </a:lnTo>
                <a:lnTo>
                  <a:pt x="1200803" y="563879"/>
                </a:lnTo>
                <a:lnTo>
                  <a:pt x="1149427" y="596834"/>
                </a:lnTo>
                <a:lnTo>
                  <a:pt x="1049376" y="575585"/>
                </a:lnTo>
                <a:lnTo>
                  <a:pt x="944170" y="601016"/>
                </a:lnTo>
                <a:lnTo>
                  <a:pt x="997100" y="637592"/>
                </a:lnTo>
                <a:lnTo>
                  <a:pt x="932502" y="732006"/>
                </a:lnTo>
                <a:lnTo>
                  <a:pt x="885380" y="747332"/>
                </a:lnTo>
                <a:lnTo>
                  <a:pt x="805788" y="714615"/>
                </a:lnTo>
                <a:lnTo>
                  <a:pt x="753426" y="728998"/>
                </a:lnTo>
                <a:lnTo>
                  <a:pt x="725489" y="818107"/>
                </a:lnTo>
                <a:lnTo>
                  <a:pt x="717966" y="871937"/>
                </a:lnTo>
                <a:lnTo>
                  <a:pt x="1003400" y="1221940"/>
                </a:lnTo>
                <a:lnTo>
                  <a:pt x="1064838" y="1223257"/>
                </a:lnTo>
                <a:lnTo>
                  <a:pt x="1097794" y="1274634"/>
                </a:lnTo>
                <a:lnTo>
                  <a:pt x="1078451" y="1376109"/>
                </a:lnTo>
                <a:lnTo>
                  <a:pt x="1153279" y="1669819"/>
                </a:lnTo>
                <a:lnTo>
                  <a:pt x="977483" y="1901120"/>
                </a:lnTo>
                <a:lnTo>
                  <a:pt x="607492" y="1930842"/>
                </a:lnTo>
                <a:lnTo>
                  <a:pt x="18155" y="2337679"/>
                </a:lnTo>
                <a:lnTo>
                  <a:pt x="0" y="2306277"/>
                </a:lnTo>
                <a:lnTo>
                  <a:pt x="577914" y="1902797"/>
                </a:lnTo>
                <a:lnTo>
                  <a:pt x="673956" y="1814042"/>
                </a:lnTo>
                <a:lnTo>
                  <a:pt x="733775" y="1710110"/>
                </a:lnTo>
                <a:lnTo>
                  <a:pt x="776380" y="1569537"/>
                </a:lnTo>
                <a:lnTo>
                  <a:pt x="785200" y="1442363"/>
                </a:lnTo>
                <a:lnTo>
                  <a:pt x="720017" y="1215311"/>
                </a:lnTo>
                <a:lnTo>
                  <a:pt x="329866" y="268344"/>
                </a:lnTo>
                <a:lnTo>
                  <a:pt x="258503" y="172525"/>
                </a:lnTo>
                <a:lnTo>
                  <a:pt x="344612" y="0"/>
                </a:lnTo>
                <a:close/>
              </a:path>
            </a:pathLst>
          </a:custGeom>
          <a:solidFill>
            <a:srgbClr val="CCFF99">
              <a:alpha val="50196"/>
            </a:srgbClr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66" name="Rectangle 29">
            <a:extLst>
              <a:ext uri="{FF2B5EF4-FFF2-40B4-BE49-F238E27FC236}">
                <a16:creationId xmlns:a16="http://schemas.microsoft.com/office/drawing/2014/main" id="{B5759967-8D3F-4089-876D-A6824F4384C2}"/>
              </a:ext>
            </a:extLst>
          </p:cNvPr>
          <p:cNvSpPr/>
          <p:nvPr/>
        </p:nvSpPr>
        <p:spPr>
          <a:xfrm>
            <a:off x="6920441" y="3092515"/>
            <a:ext cx="1882132" cy="2623848"/>
          </a:xfrm>
          <a:custGeom>
            <a:avLst/>
            <a:gdLst>
              <a:gd name="connsiteX0" fmla="*/ 0 w 681228"/>
              <a:gd name="connsiteY0" fmla="*/ 0 h 1508760"/>
              <a:gd name="connsiteX1" fmla="*/ 681228 w 681228"/>
              <a:gd name="connsiteY1" fmla="*/ 0 h 1508760"/>
              <a:gd name="connsiteX2" fmla="*/ 681228 w 681228"/>
              <a:gd name="connsiteY2" fmla="*/ 1508760 h 1508760"/>
              <a:gd name="connsiteX3" fmla="*/ 0 w 681228"/>
              <a:gd name="connsiteY3" fmla="*/ 1508760 h 1508760"/>
              <a:gd name="connsiteX4" fmla="*/ 0 w 681228"/>
              <a:gd name="connsiteY4" fmla="*/ 0 h 1508760"/>
              <a:gd name="connsiteX0" fmla="*/ 0 w 766639"/>
              <a:gd name="connsiteY0" fmla="*/ 0 h 1538905"/>
              <a:gd name="connsiteX1" fmla="*/ 766639 w 766639"/>
              <a:gd name="connsiteY1" fmla="*/ 30145 h 1538905"/>
              <a:gd name="connsiteX2" fmla="*/ 766639 w 766639"/>
              <a:gd name="connsiteY2" fmla="*/ 1538905 h 1538905"/>
              <a:gd name="connsiteX3" fmla="*/ 85411 w 766639"/>
              <a:gd name="connsiteY3" fmla="*/ 1538905 h 1538905"/>
              <a:gd name="connsiteX4" fmla="*/ 0 w 766639"/>
              <a:gd name="connsiteY4" fmla="*/ 0 h 1538905"/>
              <a:gd name="connsiteX0" fmla="*/ 0 w 766639"/>
              <a:gd name="connsiteY0" fmla="*/ 0 h 1538905"/>
              <a:gd name="connsiteX1" fmla="*/ 344609 w 766639"/>
              <a:gd name="connsiteY1" fmla="*/ 50242 h 1538905"/>
              <a:gd name="connsiteX2" fmla="*/ 766639 w 766639"/>
              <a:gd name="connsiteY2" fmla="*/ 1538905 h 1538905"/>
              <a:gd name="connsiteX3" fmla="*/ 85411 w 766639"/>
              <a:gd name="connsiteY3" fmla="*/ 1538905 h 1538905"/>
              <a:gd name="connsiteX4" fmla="*/ 0 w 766639"/>
              <a:gd name="connsiteY4" fmla="*/ 0 h 1538905"/>
              <a:gd name="connsiteX0" fmla="*/ 0 w 766639"/>
              <a:gd name="connsiteY0" fmla="*/ 0 h 1538905"/>
              <a:gd name="connsiteX1" fmla="*/ 344609 w 766639"/>
              <a:gd name="connsiteY1" fmla="*/ 50242 h 1538905"/>
              <a:gd name="connsiteX2" fmla="*/ 532061 w 766639"/>
              <a:gd name="connsiteY2" fmla="*/ 676305 h 1538905"/>
              <a:gd name="connsiteX3" fmla="*/ 766639 w 766639"/>
              <a:gd name="connsiteY3" fmla="*/ 1538905 h 1538905"/>
              <a:gd name="connsiteX4" fmla="*/ 85411 w 766639"/>
              <a:gd name="connsiteY4" fmla="*/ 1538905 h 1538905"/>
              <a:gd name="connsiteX5" fmla="*/ 0 w 766639"/>
              <a:gd name="connsiteY5" fmla="*/ 0 h 1538905"/>
              <a:gd name="connsiteX0" fmla="*/ 0 w 928971"/>
              <a:gd name="connsiteY0" fmla="*/ 0 h 1538905"/>
              <a:gd name="connsiteX1" fmla="*/ 344609 w 928971"/>
              <a:gd name="connsiteY1" fmla="*/ 50242 h 1538905"/>
              <a:gd name="connsiteX2" fmla="*/ 928971 w 928971"/>
              <a:gd name="connsiteY2" fmla="*/ 389927 h 1538905"/>
              <a:gd name="connsiteX3" fmla="*/ 766639 w 928971"/>
              <a:gd name="connsiteY3" fmla="*/ 1538905 h 1538905"/>
              <a:gd name="connsiteX4" fmla="*/ 85411 w 928971"/>
              <a:gd name="connsiteY4" fmla="*/ 1538905 h 1538905"/>
              <a:gd name="connsiteX5" fmla="*/ 0 w 928971"/>
              <a:gd name="connsiteY5" fmla="*/ 0 h 1538905"/>
              <a:gd name="connsiteX0" fmla="*/ 0 w 928971"/>
              <a:gd name="connsiteY0" fmla="*/ 0 h 1538905"/>
              <a:gd name="connsiteX1" fmla="*/ 344609 w 928971"/>
              <a:gd name="connsiteY1" fmla="*/ 50242 h 1538905"/>
              <a:gd name="connsiteX2" fmla="*/ 928971 w 928971"/>
              <a:gd name="connsiteY2" fmla="*/ 389927 h 1538905"/>
              <a:gd name="connsiteX3" fmla="*/ 646059 w 928971"/>
              <a:gd name="connsiteY3" fmla="*/ 1227406 h 1538905"/>
              <a:gd name="connsiteX4" fmla="*/ 85411 w 928971"/>
              <a:gd name="connsiteY4" fmla="*/ 1538905 h 1538905"/>
              <a:gd name="connsiteX5" fmla="*/ 0 w 928971"/>
              <a:gd name="connsiteY5" fmla="*/ 0 h 1538905"/>
              <a:gd name="connsiteX0" fmla="*/ 0 w 928971"/>
              <a:gd name="connsiteY0" fmla="*/ 0 h 1453495"/>
              <a:gd name="connsiteX1" fmla="*/ 344609 w 928971"/>
              <a:gd name="connsiteY1" fmla="*/ 50242 h 1453495"/>
              <a:gd name="connsiteX2" fmla="*/ 928971 w 928971"/>
              <a:gd name="connsiteY2" fmla="*/ 389927 h 1453495"/>
              <a:gd name="connsiteX3" fmla="*/ 646059 w 928971"/>
              <a:gd name="connsiteY3" fmla="*/ 1227406 h 1453495"/>
              <a:gd name="connsiteX4" fmla="*/ 70338 w 928971"/>
              <a:gd name="connsiteY4" fmla="*/ 1453495 h 1453495"/>
              <a:gd name="connsiteX5" fmla="*/ 0 w 928971"/>
              <a:gd name="connsiteY5" fmla="*/ 0 h 1453495"/>
              <a:gd name="connsiteX0" fmla="*/ 0 w 928971"/>
              <a:gd name="connsiteY0" fmla="*/ 0 h 1453495"/>
              <a:gd name="connsiteX1" fmla="*/ 344609 w 928971"/>
              <a:gd name="connsiteY1" fmla="*/ 50242 h 1453495"/>
              <a:gd name="connsiteX2" fmla="*/ 928971 w 928971"/>
              <a:gd name="connsiteY2" fmla="*/ 389927 h 1453495"/>
              <a:gd name="connsiteX3" fmla="*/ 646059 w 928971"/>
              <a:gd name="connsiteY3" fmla="*/ 1227406 h 1453495"/>
              <a:gd name="connsiteX4" fmla="*/ 70338 w 928971"/>
              <a:gd name="connsiteY4" fmla="*/ 1453495 h 1453495"/>
              <a:gd name="connsiteX5" fmla="*/ 49740 w 928971"/>
              <a:gd name="connsiteY5" fmla="*/ 1228965 h 1453495"/>
              <a:gd name="connsiteX6" fmla="*/ 0 w 928971"/>
              <a:gd name="connsiteY6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382339 w 1311310"/>
              <a:gd name="connsiteY6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211016 w 1311310"/>
              <a:gd name="connsiteY6" fmla="*/ 515532 h 1453495"/>
              <a:gd name="connsiteX7" fmla="*/ 382339 w 1311310"/>
              <a:gd name="connsiteY7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382339 w 1311310"/>
              <a:gd name="connsiteY7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396910 w 1311310"/>
              <a:gd name="connsiteY7" fmla="*/ 264323 h 1453495"/>
              <a:gd name="connsiteX8" fmla="*/ 382339 w 1311310"/>
              <a:gd name="connsiteY8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382339 w 1311310"/>
              <a:gd name="connsiteY8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507442 w 1311310"/>
              <a:gd name="connsiteY8" fmla="*/ 329637 h 1453495"/>
              <a:gd name="connsiteX9" fmla="*/ 382339 w 1311310"/>
              <a:gd name="connsiteY9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708409 w 1311310"/>
              <a:gd name="connsiteY8" fmla="*/ 394951 h 1453495"/>
              <a:gd name="connsiteX9" fmla="*/ 382339 w 1311310"/>
              <a:gd name="connsiteY9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708409 w 1311310"/>
              <a:gd name="connsiteY8" fmla="*/ 394951 h 1453495"/>
              <a:gd name="connsiteX9" fmla="*/ 557684 w 1311310"/>
              <a:gd name="connsiteY9" fmla="*/ 199009 h 1453495"/>
              <a:gd name="connsiteX10" fmla="*/ 382339 w 1311310"/>
              <a:gd name="connsiteY10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708409 w 1311310"/>
              <a:gd name="connsiteY8" fmla="*/ 394951 h 1453495"/>
              <a:gd name="connsiteX9" fmla="*/ 517491 w 1311310"/>
              <a:gd name="connsiteY9" fmla="*/ 324614 h 1453495"/>
              <a:gd name="connsiteX10" fmla="*/ 382339 w 1311310"/>
              <a:gd name="connsiteY10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708409 w 1311310"/>
              <a:gd name="connsiteY8" fmla="*/ 394951 h 1453495"/>
              <a:gd name="connsiteX9" fmla="*/ 517491 w 1311310"/>
              <a:gd name="connsiteY9" fmla="*/ 324614 h 1453495"/>
              <a:gd name="connsiteX10" fmla="*/ 457200 w 1311310"/>
              <a:gd name="connsiteY10" fmla="*/ 153791 h 1453495"/>
              <a:gd name="connsiteX11" fmla="*/ 382339 w 1311310"/>
              <a:gd name="connsiteY11" fmla="*/ 0 h 1453495"/>
              <a:gd name="connsiteX0" fmla="*/ 382339 w 1311310"/>
              <a:gd name="connsiteY0" fmla="*/ 0 h 1453495"/>
              <a:gd name="connsiteX1" fmla="*/ 726948 w 1311310"/>
              <a:gd name="connsiteY1" fmla="*/ 50242 h 1453495"/>
              <a:gd name="connsiteX2" fmla="*/ 1311310 w 1311310"/>
              <a:gd name="connsiteY2" fmla="*/ 389927 h 1453495"/>
              <a:gd name="connsiteX3" fmla="*/ 1028398 w 1311310"/>
              <a:gd name="connsiteY3" fmla="*/ 1227406 h 1453495"/>
              <a:gd name="connsiteX4" fmla="*/ 452677 w 1311310"/>
              <a:gd name="connsiteY4" fmla="*/ 1453495 h 1453495"/>
              <a:gd name="connsiteX5" fmla="*/ 0 w 1311310"/>
              <a:gd name="connsiteY5" fmla="*/ 1249062 h 1453495"/>
              <a:gd name="connsiteX6" fmla="*/ 411983 w 1311310"/>
              <a:gd name="connsiteY6" fmla="*/ 565774 h 1453495"/>
              <a:gd name="connsiteX7" fmla="*/ 638071 w 1311310"/>
              <a:gd name="connsiteY7" fmla="*/ 656209 h 1453495"/>
              <a:gd name="connsiteX8" fmla="*/ 708409 w 1311310"/>
              <a:gd name="connsiteY8" fmla="*/ 394951 h 1453495"/>
              <a:gd name="connsiteX9" fmla="*/ 517491 w 1311310"/>
              <a:gd name="connsiteY9" fmla="*/ 324614 h 1453495"/>
              <a:gd name="connsiteX10" fmla="*/ 497394 w 1311310"/>
              <a:gd name="connsiteY10" fmla="*/ 199008 h 1453495"/>
              <a:gd name="connsiteX11" fmla="*/ 382339 w 1311310"/>
              <a:gd name="connsiteY11" fmla="*/ 0 h 1453495"/>
              <a:gd name="connsiteX0" fmla="*/ 382339 w 1251020"/>
              <a:gd name="connsiteY0" fmla="*/ 0 h 1453495"/>
              <a:gd name="connsiteX1" fmla="*/ 726948 w 1251020"/>
              <a:gd name="connsiteY1" fmla="*/ 50242 h 1453495"/>
              <a:gd name="connsiteX2" fmla="*/ 1251020 w 1251020"/>
              <a:gd name="connsiteY2" fmla="*/ 364806 h 1453495"/>
              <a:gd name="connsiteX3" fmla="*/ 1028398 w 1251020"/>
              <a:gd name="connsiteY3" fmla="*/ 1227406 h 1453495"/>
              <a:gd name="connsiteX4" fmla="*/ 452677 w 1251020"/>
              <a:gd name="connsiteY4" fmla="*/ 1453495 h 1453495"/>
              <a:gd name="connsiteX5" fmla="*/ 0 w 1251020"/>
              <a:gd name="connsiteY5" fmla="*/ 1249062 h 1453495"/>
              <a:gd name="connsiteX6" fmla="*/ 411983 w 1251020"/>
              <a:gd name="connsiteY6" fmla="*/ 565774 h 1453495"/>
              <a:gd name="connsiteX7" fmla="*/ 638071 w 1251020"/>
              <a:gd name="connsiteY7" fmla="*/ 656209 h 1453495"/>
              <a:gd name="connsiteX8" fmla="*/ 708409 w 1251020"/>
              <a:gd name="connsiteY8" fmla="*/ 394951 h 1453495"/>
              <a:gd name="connsiteX9" fmla="*/ 517491 w 1251020"/>
              <a:gd name="connsiteY9" fmla="*/ 324614 h 1453495"/>
              <a:gd name="connsiteX10" fmla="*/ 497394 w 1251020"/>
              <a:gd name="connsiteY10" fmla="*/ 199008 h 1453495"/>
              <a:gd name="connsiteX11" fmla="*/ 382339 w 1251020"/>
              <a:gd name="connsiteY11" fmla="*/ 0 h 1453495"/>
              <a:gd name="connsiteX0" fmla="*/ 382339 w 1251020"/>
              <a:gd name="connsiteY0" fmla="*/ 0 h 1453495"/>
              <a:gd name="connsiteX1" fmla="*/ 726948 w 1251020"/>
              <a:gd name="connsiteY1" fmla="*/ 50242 h 1453495"/>
              <a:gd name="connsiteX2" fmla="*/ 1251020 w 1251020"/>
              <a:gd name="connsiteY2" fmla="*/ 364806 h 1453495"/>
              <a:gd name="connsiteX3" fmla="*/ 1028398 w 1251020"/>
              <a:gd name="connsiteY3" fmla="*/ 1227406 h 1453495"/>
              <a:gd name="connsiteX4" fmla="*/ 452677 w 1251020"/>
              <a:gd name="connsiteY4" fmla="*/ 1453495 h 1453495"/>
              <a:gd name="connsiteX5" fmla="*/ 0 w 1251020"/>
              <a:gd name="connsiteY5" fmla="*/ 1249062 h 1453495"/>
              <a:gd name="connsiteX6" fmla="*/ 291402 w 1251020"/>
              <a:gd name="connsiteY6" fmla="*/ 761716 h 1453495"/>
              <a:gd name="connsiteX7" fmla="*/ 411983 w 1251020"/>
              <a:gd name="connsiteY7" fmla="*/ 565774 h 1453495"/>
              <a:gd name="connsiteX8" fmla="*/ 638071 w 1251020"/>
              <a:gd name="connsiteY8" fmla="*/ 656209 h 1453495"/>
              <a:gd name="connsiteX9" fmla="*/ 708409 w 1251020"/>
              <a:gd name="connsiteY9" fmla="*/ 394951 h 1453495"/>
              <a:gd name="connsiteX10" fmla="*/ 517491 w 1251020"/>
              <a:gd name="connsiteY10" fmla="*/ 324614 h 1453495"/>
              <a:gd name="connsiteX11" fmla="*/ 497394 w 1251020"/>
              <a:gd name="connsiteY11" fmla="*/ 199008 h 1453495"/>
              <a:gd name="connsiteX12" fmla="*/ 382339 w 1251020"/>
              <a:gd name="connsiteY12" fmla="*/ 0 h 1453495"/>
              <a:gd name="connsiteX0" fmla="*/ 382339 w 1251020"/>
              <a:gd name="connsiteY0" fmla="*/ 0 h 1453495"/>
              <a:gd name="connsiteX1" fmla="*/ 726948 w 1251020"/>
              <a:gd name="connsiteY1" fmla="*/ 50242 h 1453495"/>
              <a:gd name="connsiteX2" fmla="*/ 1251020 w 1251020"/>
              <a:gd name="connsiteY2" fmla="*/ 364806 h 1453495"/>
              <a:gd name="connsiteX3" fmla="*/ 1028398 w 1251020"/>
              <a:gd name="connsiteY3" fmla="*/ 1227406 h 1453495"/>
              <a:gd name="connsiteX4" fmla="*/ 452677 w 1251020"/>
              <a:gd name="connsiteY4" fmla="*/ 1453495 h 1453495"/>
              <a:gd name="connsiteX5" fmla="*/ 0 w 1251020"/>
              <a:gd name="connsiteY5" fmla="*/ 1249062 h 1453495"/>
              <a:gd name="connsiteX6" fmla="*/ 155750 w 1251020"/>
              <a:gd name="connsiteY6" fmla="*/ 852151 h 1453495"/>
              <a:gd name="connsiteX7" fmla="*/ 411983 w 1251020"/>
              <a:gd name="connsiteY7" fmla="*/ 565774 h 1453495"/>
              <a:gd name="connsiteX8" fmla="*/ 638071 w 1251020"/>
              <a:gd name="connsiteY8" fmla="*/ 656209 h 1453495"/>
              <a:gd name="connsiteX9" fmla="*/ 708409 w 1251020"/>
              <a:gd name="connsiteY9" fmla="*/ 394951 h 1453495"/>
              <a:gd name="connsiteX10" fmla="*/ 517491 w 1251020"/>
              <a:gd name="connsiteY10" fmla="*/ 324614 h 1453495"/>
              <a:gd name="connsiteX11" fmla="*/ 497394 w 1251020"/>
              <a:gd name="connsiteY11" fmla="*/ 199008 h 1453495"/>
              <a:gd name="connsiteX12" fmla="*/ 382339 w 1251020"/>
              <a:gd name="connsiteY12" fmla="*/ 0 h 1453495"/>
              <a:gd name="connsiteX0" fmla="*/ 377315 w 1245996"/>
              <a:gd name="connsiteY0" fmla="*/ 0 h 1453495"/>
              <a:gd name="connsiteX1" fmla="*/ 721924 w 1245996"/>
              <a:gd name="connsiteY1" fmla="*/ 50242 h 1453495"/>
              <a:gd name="connsiteX2" fmla="*/ 1245996 w 1245996"/>
              <a:gd name="connsiteY2" fmla="*/ 364806 h 1453495"/>
              <a:gd name="connsiteX3" fmla="*/ 1023374 w 1245996"/>
              <a:gd name="connsiteY3" fmla="*/ 1227406 h 1453495"/>
              <a:gd name="connsiteX4" fmla="*/ 447653 w 1245996"/>
              <a:gd name="connsiteY4" fmla="*/ 1453495 h 1453495"/>
              <a:gd name="connsiteX5" fmla="*/ 0 w 1245996"/>
              <a:gd name="connsiteY5" fmla="*/ 1279207 h 1453495"/>
              <a:gd name="connsiteX6" fmla="*/ 150726 w 1245996"/>
              <a:gd name="connsiteY6" fmla="*/ 852151 h 1453495"/>
              <a:gd name="connsiteX7" fmla="*/ 406959 w 1245996"/>
              <a:gd name="connsiteY7" fmla="*/ 565774 h 1453495"/>
              <a:gd name="connsiteX8" fmla="*/ 633047 w 1245996"/>
              <a:gd name="connsiteY8" fmla="*/ 656209 h 1453495"/>
              <a:gd name="connsiteX9" fmla="*/ 703385 w 1245996"/>
              <a:gd name="connsiteY9" fmla="*/ 394951 h 1453495"/>
              <a:gd name="connsiteX10" fmla="*/ 512467 w 1245996"/>
              <a:gd name="connsiteY10" fmla="*/ 324614 h 1453495"/>
              <a:gd name="connsiteX11" fmla="*/ 492370 w 1245996"/>
              <a:gd name="connsiteY11" fmla="*/ 199008 h 1453495"/>
              <a:gd name="connsiteX12" fmla="*/ 377315 w 1245996"/>
              <a:gd name="connsiteY12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048495 w 1271117"/>
              <a:gd name="connsiteY3" fmla="*/ 1227406 h 1453495"/>
              <a:gd name="connsiteX4" fmla="*/ 472774 w 1271117"/>
              <a:gd name="connsiteY4" fmla="*/ 1453495 h 1453495"/>
              <a:gd name="connsiteX5" fmla="*/ 0 w 1271117"/>
              <a:gd name="connsiteY5" fmla="*/ 1264134 h 1453495"/>
              <a:gd name="connsiteX6" fmla="*/ 175847 w 1271117"/>
              <a:gd name="connsiteY6" fmla="*/ 852151 h 1453495"/>
              <a:gd name="connsiteX7" fmla="*/ 432080 w 1271117"/>
              <a:gd name="connsiteY7" fmla="*/ 565774 h 1453495"/>
              <a:gd name="connsiteX8" fmla="*/ 658168 w 1271117"/>
              <a:gd name="connsiteY8" fmla="*/ 656209 h 1453495"/>
              <a:gd name="connsiteX9" fmla="*/ 728506 w 1271117"/>
              <a:gd name="connsiteY9" fmla="*/ 394951 h 1453495"/>
              <a:gd name="connsiteX10" fmla="*/ 537588 w 1271117"/>
              <a:gd name="connsiteY10" fmla="*/ 324614 h 1453495"/>
              <a:gd name="connsiteX11" fmla="*/ 517491 w 1271117"/>
              <a:gd name="connsiteY11" fmla="*/ 199008 h 1453495"/>
              <a:gd name="connsiteX12" fmla="*/ 402436 w 1271117"/>
              <a:gd name="connsiteY12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40489 w 1271117"/>
              <a:gd name="connsiteY3" fmla="*/ 832055 h 1453495"/>
              <a:gd name="connsiteX4" fmla="*/ 1048495 w 1271117"/>
              <a:gd name="connsiteY4" fmla="*/ 1227406 h 1453495"/>
              <a:gd name="connsiteX5" fmla="*/ 472774 w 1271117"/>
              <a:gd name="connsiteY5" fmla="*/ 1453495 h 1453495"/>
              <a:gd name="connsiteX6" fmla="*/ 0 w 1271117"/>
              <a:gd name="connsiteY6" fmla="*/ 1264134 h 1453495"/>
              <a:gd name="connsiteX7" fmla="*/ 175847 w 1271117"/>
              <a:gd name="connsiteY7" fmla="*/ 852151 h 1453495"/>
              <a:gd name="connsiteX8" fmla="*/ 432080 w 1271117"/>
              <a:gd name="connsiteY8" fmla="*/ 565774 h 1453495"/>
              <a:gd name="connsiteX9" fmla="*/ 658168 w 1271117"/>
              <a:gd name="connsiteY9" fmla="*/ 656209 h 1453495"/>
              <a:gd name="connsiteX10" fmla="*/ 728506 w 1271117"/>
              <a:gd name="connsiteY10" fmla="*/ 394951 h 1453495"/>
              <a:gd name="connsiteX11" fmla="*/ 537588 w 1271117"/>
              <a:gd name="connsiteY11" fmla="*/ 324614 h 1453495"/>
              <a:gd name="connsiteX12" fmla="*/ 517491 w 1271117"/>
              <a:gd name="connsiteY12" fmla="*/ 199008 h 1453495"/>
              <a:gd name="connsiteX13" fmla="*/ 402436 w 1271117"/>
              <a:gd name="connsiteY13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048495 w 1271117"/>
              <a:gd name="connsiteY4" fmla="*/ 1227406 h 1453495"/>
              <a:gd name="connsiteX5" fmla="*/ 472774 w 1271117"/>
              <a:gd name="connsiteY5" fmla="*/ 1453495 h 1453495"/>
              <a:gd name="connsiteX6" fmla="*/ 0 w 1271117"/>
              <a:gd name="connsiteY6" fmla="*/ 1264134 h 1453495"/>
              <a:gd name="connsiteX7" fmla="*/ 175847 w 1271117"/>
              <a:gd name="connsiteY7" fmla="*/ 852151 h 1453495"/>
              <a:gd name="connsiteX8" fmla="*/ 432080 w 1271117"/>
              <a:gd name="connsiteY8" fmla="*/ 565774 h 1453495"/>
              <a:gd name="connsiteX9" fmla="*/ 658168 w 1271117"/>
              <a:gd name="connsiteY9" fmla="*/ 656209 h 1453495"/>
              <a:gd name="connsiteX10" fmla="*/ 728506 w 1271117"/>
              <a:gd name="connsiteY10" fmla="*/ 394951 h 1453495"/>
              <a:gd name="connsiteX11" fmla="*/ 537588 w 1271117"/>
              <a:gd name="connsiteY11" fmla="*/ 324614 h 1453495"/>
              <a:gd name="connsiteX12" fmla="*/ 517491 w 1271117"/>
              <a:gd name="connsiteY12" fmla="*/ 199008 h 1453495"/>
              <a:gd name="connsiteX13" fmla="*/ 402436 w 1271117"/>
              <a:gd name="connsiteY13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169075 w 1271117"/>
              <a:gd name="connsiteY4" fmla="*/ 790302 h 1453495"/>
              <a:gd name="connsiteX5" fmla="*/ 472774 w 1271117"/>
              <a:gd name="connsiteY5" fmla="*/ 1453495 h 1453495"/>
              <a:gd name="connsiteX6" fmla="*/ 0 w 1271117"/>
              <a:gd name="connsiteY6" fmla="*/ 1264134 h 1453495"/>
              <a:gd name="connsiteX7" fmla="*/ 175847 w 1271117"/>
              <a:gd name="connsiteY7" fmla="*/ 852151 h 1453495"/>
              <a:gd name="connsiteX8" fmla="*/ 432080 w 1271117"/>
              <a:gd name="connsiteY8" fmla="*/ 565774 h 1453495"/>
              <a:gd name="connsiteX9" fmla="*/ 658168 w 1271117"/>
              <a:gd name="connsiteY9" fmla="*/ 656209 h 1453495"/>
              <a:gd name="connsiteX10" fmla="*/ 728506 w 1271117"/>
              <a:gd name="connsiteY10" fmla="*/ 394951 h 1453495"/>
              <a:gd name="connsiteX11" fmla="*/ 537588 w 1271117"/>
              <a:gd name="connsiteY11" fmla="*/ 324614 h 1453495"/>
              <a:gd name="connsiteX12" fmla="*/ 517491 w 1271117"/>
              <a:gd name="connsiteY12" fmla="*/ 199008 h 1453495"/>
              <a:gd name="connsiteX13" fmla="*/ 402436 w 1271117"/>
              <a:gd name="connsiteY13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169075 w 1271117"/>
              <a:gd name="connsiteY4" fmla="*/ 790302 h 1453495"/>
              <a:gd name="connsiteX5" fmla="*/ 1045030 w 1271117"/>
              <a:gd name="connsiteY5" fmla="*/ 902393 h 1453495"/>
              <a:gd name="connsiteX6" fmla="*/ 472774 w 1271117"/>
              <a:gd name="connsiteY6" fmla="*/ 1453495 h 1453495"/>
              <a:gd name="connsiteX7" fmla="*/ 0 w 1271117"/>
              <a:gd name="connsiteY7" fmla="*/ 1264134 h 1453495"/>
              <a:gd name="connsiteX8" fmla="*/ 175847 w 1271117"/>
              <a:gd name="connsiteY8" fmla="*/ 852151 h 1453495"/>
              <a:gd name="connsiteX9" fmla="*/ 432080 w 1271117"/>
              <a:gd name="connsiteY9" fmla="*/ 565774 h 1453495"/>
              <a:gd name="connsiteX10" fmla="*/ 658168 w 1271117"/>
              <a:gd name="connsiteY10" fmla="*/ 656209 h 1453495"/>
              <a:gd name="connsiteX11" fmla="*/ 728506 w 1271117"/>
              <a:gd name="connsiteY11" fmla="*/ 394951 h 1453495"/>
              <a:gd name="connsiteX12" fmla="*/ 537588 w 1271117"/>
              <a:gd name="connsiteY12" fmla="*/ 324614 h 1453495"/>
              <a:gd name="connsiteX13" fmla="*/ 517491 w 1271117"/>
              <a:gd name="connsiteY13" fmla="*/ 199008 h 1453495"/>
              <a:gd name="connsiteX14" fmla="*/ 402436 w 1271117"/>
              <a:gd name="connsiteY14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169075 w 1271117"/>
              <a:gd name="connsiteY4" fmla="*/ 790302 h 1453495"/>
              <a:gd name="connsiteX5" fmla="*/ 1145514 w 1271117"/>
              <a:gd name="connsiteY5" fmla="*/ 1183747 h 1453495"/>
              <a:gd name="connsiteX6" fmla="*/ 472774 w 1271117"/>
              <a:gd name="connsiteY6" fmla="*/ 1453495 h 1453495"/>
              <a:gd name="connsiteX7" fmla="*/ 0 w 1271117"/>
              <a:gd name="connsiteY7" fmla="*/ 1264134 h 1453495"/>
              <a:gd name="connsiteX8" fmla="*/ 175847 w 1271117"/>
              <a:gd name="connsiteY8" fmla="*/ 852151 h 1453495"/>
              <a:gd name="connsiteX9" fmla="*/ 432080 w 1271117"/>
              <a:gd name="connsiteY9" fmla="*/ 565774 h 1453495"/>
              <a:gd name="connsiteX10" fmla="*/ 658168 w 1271117"/>
              <a:gd name="connsiteY10" fmla="*/ 656209 h 1453495"/>
              <a:gd name="connsiteX11" fmla="*/ 728506 w 1271117"/>
              <a:gd name="connsiteY11" fmla="*/ 394951 h 1453495"/>
              <a:gd name="connsiteX12" fmla="*/ 537588 w 1271117"/>
              <a:gd name="connsiteY12" fmla="*/ 324614 h 1453495"/>
              <a:gd name="connsiteX13" fmla="*/ 517491 w 1271117"/>
              <a:gd name="connsiteY13" fmla="*/ 199008 h 1453495"/>
              <a:gd name="connsiteX14" fmla="*/ 402436 w 1271117"/>
              <a:gd name="connsiteY14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169075 w 1271117"/>
              <a:gd name="connsiteY4" fmla="*/ 790302 h 1453495"/>
              <a:gd name="connsiteX5" fmla="*/ 1145514 w 1271117"/>
              <a:gd name="connsiteY5" fmla="*/ 1183747 h 1453495"/>
              <a:gd name="connsiteX6" fmla="*/ 994788 w 1271117"/>
              <a:gd name="connsiteY6" fmla="*/ 1244037 h 1453495"/>
              <a:gd name="connsiteX7" fmla="*/ 472774 w 1271117"/>
              <a:gd name="connsiteY7" fmla="*/ 1453495 h 1453495"/>
              <a:gd name="connsiteX8" fmla="*/ 0 w 1271117"/>
              <a:gd name="connsiteY8" fmla="*/ 1264134 h 1453495"/>
              <a:gd name="connsiteX9" fmla="*/ 175847 w 1271117"/>
              <a:gd name="connsiteY9" fmla="*/ 852151 h 1453495"/>
              <a:gd name="connsiteX10" fmla="*/ 432080 w 1271117"/>
              <a:gd name="connsiteY10" fmla="*/ 565774 h 1453495"/>
              <a:gd name="connsiteX11" fmla="*/ 658168 w 1271117"/>
              <a:gd name="connsiteY11" fmla="*/ 656209 h 1453495"/>
              <a:gd name="connsiteX12" fmla="*/ 728506 w 1271117"/>
              <a:gd name="connsiteY12" fmla="*/ 394951 h 1453495"/>
              <a:gd name="connsiteX13" fmla="*/ 537588 w 1271117"/>
              <a:gd name="connsiteY13" fmla="*/ 324614 h 1453495"/>
              <a:gd name="connsiteX14" fmla="*/ 517491 w 1271117"/>
              <a:gd name="connsiteY14" fmla="*/ 199008 h 1453495"/>
              <a:gd name="connsiteX15" fmla="*/ 402436 w 1271117"/>
              <a:gd name="connsiteY15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30441 w 1271117"/>
              <a:gd name="connsiteY3" fmla="*/ 641136 h 1453495"/>
              <a:gd name="connsiteX4" fmla="*/ 1169075 w 1271117"/>
              <a:gd name="connsiteY4" fmla="*/ 790302 h 1453495"/>
              <a:gd name="connsiteX5" fmla="*/ 1145514 w 1271117"/>
              <a:gd name="connsiteY5" fmla="*/ 1183747 h 1453495"/>
              <a:gd name="connsiteX6" fmla="*/ 899329 w 1271117"/>
              <a:gd name="connsiteY6" fmla="*/ 1334473 h 1453495"/>
              <a:gd name="connsiteX7" fmla="*/ 472774 w 1271117"/>
              <a:gd name="connsiteY7" fmla="*/ 1453495 h 1453495"/>
              <a:gd name="connsiteX8" fmla="*/ 0 w 1271117"/>
              <a:gd name="connsiteY8" fmla="*/ 1264134 h 1453495"/>
              <a:gd name="connsiteX9" fmla="*/ 175847 w 1271117"/>
              <a:gd name="connsiteY9" fmla="*/ 852151 h 1453495"/>
              <a:gd name="connsiteX10" fmla="*/ 432080 w 1271117"/>
              <a:gd name="connsiteY10" fmla="*/ 565774 h 1453495"/>
              <a:gd name="connsiteX11" fmla="*/ 658168 w 1271117"/>
              <a:gd name="connsiteY11" fmla="*/ 656209 h 1453495"/>
              <a:gd name="connsiteX12" fmla="*/ 728506 w 1271117"/>
              <a:gd name="connsiteY12" fmla="*/ 394951 h 1453495"/>
              <a:gd name="connsiteX13" fmla="*/ 537588 w 1271117"/>
              <a:gd name="connsiteY13" fmla="*/ 324614 h 1453495"/>
              <a:gd name="connsiteX14" fmla="*/ 517491 w 1271117"/>
              <a:gd name="connsiteY14" fmla="*/ 199008 h 1453495"/>
              <a:gd name="connsiteX15" fmla="*/ 402436 w 1271117"/>
              <a:gd name="connsiteY15" fmla="*/ 0 h 1453495"/>
              <a:gd name="connsiteX0" fmla="*/ 402436 w 1271117"/>
              <a:gd name="connsiteY0" fmla="*/ 0 h 1453495"/>
              <a:gd name="connsiteX1" fmla="*/ 747045 w 1271117"/>
              <a:gd name="connsiteY1" fmla="*/ 50242 h 1453495"/>
              <a:gd name="connsiteX2" fmla="*/ 1271117 w 1271117"/>
              <a:gd name="connsiteY2" fmla="*/ 364806 h 1453495"/>
              <a:gd name="connsiteX3" fmla="*/ 1168541 w 1271117"/>
              <a:gd name="connsiteY3" fmla="*/ 686380 h 1453495"/>
              <a:gd name="connsiteX4" fmla="*/ 1169075 w 1271117"/>
              <a:gd name="connsiteY4" fmla="*/ 790302 h 1453495"/>
              <a:gd name="connsiteX5" fmla="*/ 1145514 w 1271117"/>
              <a:gd name="connsiteY5" fmla="*/ 1183747 h 1453495"/>
              <a:gd name="connsiteX6" fmla="*/ 899329 w 1271117"/>
              <a:gd name="connsiteY6" fmla="*/ 1334473 h 1453495"/>
              <a:gd name="connsiteX7" fmla="*/ 472774 w 1271117"/>
              <a:gd name="connsiteY7" fmla="*/ 1453495 h 1453495"/>
              <a:gd name="connsiteX8" fmla="*/ 0 w 1271117"/>
              <a:gd name="connsiteY8" fmla="*/ 1264134 h 1453495"/>
              <a:gd name="connsiteX9" fmla="*/ 175847 w 1271117"/>
              <a:gd name="connsiteY9" fmla="*/ 852151 h 1453495"/>
              <a:gd name="connsiteX10" fmla="*/ 432080 w 1271117"/>
              <a:gd name="connsiteY10" fmla="*/ 565774 h 1453495"/>
              <a:gd name="connsiteX11" fmla="*/ 658168 w 1271117"/>
              <a:gd name="connsiteY11" fmla="*/ 656209 h 1453495"/>
              <a:gd name="connsiteX12" fmla="*/ 728506 w 1271117"/>
              <a:gd name="connsiteY12" fmla="*/ 394951 h 1453495"/>
              <a:gd name="connsiteX13" fmla="*/ 537588 w 1271117"/>
              <a:gd name="connsiteY13" fmla="*/ 324614 h 1453495"/>
              <a:gd name="connsiteX14" fmla="*/ 517491 w 1271117"/>
              <a:gd name="connsiteY14" fmla="*/ 199008 h 1453495"/>
              <a:gd name="connsiteX15" fmla="*/ 402436 w 1271117"/>
              <a:gd name="connsiteY15" fmla="*/ 0 h 1453495"/>
              <a:gd name="connsiteX0" fmla="*/ 402436 w 1256830"/>
              <a:gd name="connsiteY0" fmla="*/ 0 h 1453495"/>
              <a:gd name="connsiteX1" fmla="*/ 747045 w 1256830"/>
              <a:gd name="connsiteY1" fmla="*/ 50242 h 1453495"/>
              <a:gd name="connsiteX2" fmla="*/ 1256830 w 1256830"/>
              <a:gd name="connsiteY2" fmla="*/ 357663 h 1453495"/>
              <a:gd name="connsiteX3" fmla="*/ 1168541 w 1256830"/>
              <a:gd name="connsiteY3" fmla="*/ 686380 h 1453495"/>
              <a:gd name="connsiteX4" fmla="*/ 1169075 w 1256830"/>
              <a:gd name="connsiteY4" fmla="*/ 790302 h 1453495"/>
              <a:gd name="connsiteX5" fmla="*/ 1145514 w 1256830"/>
              <a:gd name="connsiteY5" fmla="*/ 1183747 h 1453495"/>
              <a:gd name="connsiteX6" fmla="*/ 899329 w 1256830"/>
              <a:gd name="connsiteY6" fmla="*/ 1334473 h 1453495"/>
              <a:gd name="connsiteX7" fmla="*/ 472774 w 1256830"/>
              <a:gd name="connsiteY7" fmla="*/ 1453495 h 1453495"/>
              <a:gd name="connsiteX8" fmla="*/ 0 w 1256830"/>
              <a:gd name="connsiteY8" fmla="*/ 1264134 h 1453495"/>
              <a:gd name="connsiteX9" fmla="*/ 175847 w 1256830"/>
              <a:gd name="connsiteY9" fmla="*/ 852151 h 1453495"/>
              <a:gd name="connsiteX10" fmla="*/ 432080 w 1256830"/>
              <a:gd name="connsiteY10" fmla="*/ 565774 h 1453495"/>
              <a:gd name="connsiteX11" fmla="*/ 658168 w 1256830"/>
              <a:gd name="connsiteY11" fmla="*/ 656209 h 1453495"/>
              <a:gd name="connsiteX12" fmla="*/ 728506 w 1256830"/>
              <a:gd name="connsiteY12" fmla="*/ 394951 h 1453495"/>
              <a:gd name="connsiteX13" fmla="*/ 537588 w 1256830"/>
              <a:gd name="connsiteY13" fmla="*/ 324614 h 1453495"/>
              <a:gd name="connsiteX14" fmla="*/ 517491 w 1256830"/>
              <a:gd name="connsiteY14" fmla="*/ 199008 h 1453495"/>
              <a:gd name="connsiteX15" fmla="*/ 402436 w 1256830"/>
              <a:gd name="connsiteY15" fmla="*/ 0 h 1453495"/>
              <a:gd name="connsiteX0" fmla="*/ 402436 w 1256830"/>
              <a:gd name="connsiteY0" fmla="*/ 0 h 1929786"/>
              <a:gd name="connsiteX1" fmla="*/ 747045 w 1256830"/>
              <a:gd name="connsiteY1" fmla="*/ 50242 h 1929786"/>
              <a:gd name="connsiteX2" fmla="*/ 1256830 w 1256830"/>
              <a:gd name="connsiteY2" fmla="*/ 357663 h 1929786"/>
              <a:gd name="connsiteX3" fmla="*/ 1168541 w 1256830"/>
              <a:gd name="connsiteY3" fmla="*/ 686380 h 1929786"/>
              <a:gd name="connsiteX4" fmla="*/ 1169075 w 1256830"/>
              <a:gd name="connsiteY4" fmla="*/ 790302 h 1929786"/>
              <a:gd name="connsiteX5" fmla="*/ 1145514 w 1256830"/>
              <a:gd name="connsiteY5" fmla="*/ 1183747 h 1929786"/>
              <a:gd name="connsiteX6" fmla="*/ 489754 w 1256830"/>
              <a:gd name="connsiteY6" fmla="*/ 1929786 h 1929786"/>
              <a:gd name="connsiteX7" fmla="*/ 472774 w 1256830"/>
              <a:gd name="connsiteY7" fmla="*/ 1453495 h 1929786"/>
              <a:gd name="connsiteX8" fmla="*/ 0 w 1256830"/>
              <a:gd name="connsiteY8" fmla="*/ 1264134 h 1929786"/>
              <a:gd name="connsiteX9" fmla="*/ 175847 w 1256830"/>
              <a:gd name="connsiteY9" fmla="*/ 852151 h 1929786"/>
              <a:gd name="connsiteX10" fmla="*/ 432080 w 1256830"/>
              <a:gd name="connsiteY10" fmla="*/ 565774 h 1929786"/>
              <a:gd name="connsiteX11" fmla="*/ 658168 w 1256830"/>
              <a:gd name="connsiteY11" fmla="*/ 656209 h 1929786"/>
              <a:gd name="connsiteX12" fmla="*/ 728506 w 1256830"/>
              <a:gd name="connsiteY12" fmla="*/ 394951 h 1929786"/>
              <a:gd name="connsiteX13" fmla="*/ 537588 w 1256830"/>
              <a:gd name="connsiteY13" fmla="*/ 324614 h 1929786"/>
              <a:gd name="connsiteX14" fmla="*/ 517491 w 1256830"/>
              <a:gd name="connsiteY14" fmla="*/ 199008 h 1929786"/>
              <a:gd name="connsiteX15" fmla="*/ 402436 w 1256830"/>
              <a:gd name="connsiteY15" fmla="*/ 0 h 1929786"/>
              <a:gd name="connsiteX0" fmla="*/ 402436 w 1256830"/>
              <a:gd name="connsiteY0" fmla="*/ 0 h 1929786"/>
              <a:gd name="connsiteX1" fmla="*/ 747045 w 1256830"/>
              <a:gd name="connsiteY1" fmla="*/ 50242 h 1929786"/>
              <a:gd name="connsiteX2" fmla="*/ 1256830 w 1256830"/>
              <a:gd name="connsiteY2" fmla="*/ 357663 h 1929786"/>
              <a:gd name="connsiteX3" fmla="*/ 1168541 w 1256830"/>
              <a:gd name="connsiteY3" fmla="*/ 686380 h 1929786"/>
              <a:gd name="connsiteX4" fmla="*/ 1169075 w 1256830"/>
              <a:gd name="connsiteY4" fmla="*/ 790302 h 1929786"/>
              <a:gd name="connsiteX5" fmla="*/ 489754 w 1256830"/>
              <a:gd name="connsiteY5" fmla="*/ 1929786 h 1929786"/>
              <a:gd name="connsiteX6" fmla="*/ 472774 w 1256830"/>
              <a:gd name="connsiteY6" fmla="*/ 1453495 h 1929786"/>
              <a:gd name="connsiteX7" fmla="*/ 0 w 1256830"/>
              <a:gd name="connsiteY7" fmla="*/ 1264134 h 1929786"/>
              <a:gd name="connsiteX8" fmla="*/ 175847 w 1256830"/>
              <a:gd name="connsiteY8" fmla="*/ 852151 h 1929786"/>
              <a:gd name="connsiteX9" fmla="*/ 432080 w 1256830"/>
              <a:gd name="connsiteY9" fmla="*/ 565774 h 1929786"/>
              <a:gd name="connsiteX10" fmla="*/ 658168 w 1256830"/>
              <a:gd name="connsiteY10" fmla="*/ 656209 h 1929786"/>
              <a:gd name="connsiteX11" fmla="*/ 728506 w 1256830"/>
              <a:gd name="connsiteY11" fmla="*/ 394951 h 1929786"/>
              <a:gd name="connsiteX12" fmla="*/ 537588 w 1256830"/>
              <a:gd name="connsiteY12" fmla="*/ 324614 h 1929786"/>
              <a:gd name="connsiteX13" fmla="*/ 517491 w 1256830"/>
              <a:gd name="connsiteY13" fmla="*/ 199008 h 1929786"/>
              <a:gd name="connsiteX14" fmla="*/ 402436 w 1256830"/>
              <a:gd name="connsiteY14" fmla="*/ 0 h 1929786"/>
              <a:gd name="connsiteX0" fmla="*/ 402436 w 1256830"/>
              <a:gd name="connsiteY0" fmla="*/ 0 h 1929786"/>
              <a:gd name="connsiteX1" fmla="*/ 747045 w 1256830"/>
              <a:gd name="connsiteY1" fmla="*/ 50242 h 1929786"/>
              <a:gd name="connsiteX2" fmla="*/ 1256830 w 1256830"/>
              <a:gd name="connsiteY2" fmla="*/ 357663 h 1929786"/>
              <a:gd name="connsiteX3" fmla="*/ 1168541 w 1256830"/>
              <a:gd name="connsiteY3" fmla="*/ 686380 h 1929786"/>
              <a:gd name="connsiteX4" fmla="*/ 973813 w 1256830"/>
              <a:gd name="connsiteY4" fmla="*/ 1185590 h 1929786"/>
              <a:gd name="connsiteX5" fmla="*/ 489754 w 1256830"/>
              <a:gd name="connsiteY5" fmla="*/ 1929786 h 1929786"/>
              <a:gd name="connsiteX6" fmla="*/ 472774 w 1256830"/>
              <a:gd name="connsiteY6" fmla="*/ 1453495 h 1929786"/>
              <a:gd name="connsiteX7" fmla="*/ 0 w 1256830"/>
              <a:gd name="connsiteY7" fmla="*/ 1264134 h 1929786"/>
              <a:gd name="connsiteX8" fmla="*/ 175847 w 1256830"/>
              <a:gd name="connsiteY8" fmla="*/ 852151 h 1929786"/>
              <a:gd name="connsiteX9" fmla="*/ 432080 w 1256830"/>
              <a:gd name="connsiteY9" fmla="*/ 565774 h 1929786"/>
              <a:gd name="connsiteX10" fmla="*/ 658168 w 1256830"/>
              <a:gd name="connsiteY10" fmla="*/ 656209 h 1929786"/>
              <a:gd name="connsiteX11" fmla="*/ 728506 w 1256830"/>
              <a:gd name="connsiteY11" fmla="*/ 394951 h 1929786"/>
              <a:gd name="connsiteX12" fmla="*/ 537588 w 1256830"/>
              <a:gd name="connsiteY12" fmla="*/ 324614 h 1929786"/>
              <a:gd name="connsiteX13" fmla="*/ 517491 w 1256830"/>
              <a:gd name="connsiteY13" fmla="*/ 199008 h 1929786"/>
              <a:gd name="connsiteX14" fmla="*/ 402436 w 1256830"/>
              <a:gd name="connsiteY14" fmla="*/ 0 h 1929786"/>
              <a:gd name="connsiteX0" fmla="*/ 402436 w 1256830"/>
              <a:gd name="connsiteY0" fmla="*/ 0 h 1967886"/>
              <a:gd name="connsiteX1" fmla="*/ 747045 w 1256830"/>
              <a:gd name="connsiteY1" fmla="*/ 50242 h 1967886"/>
              <a:gd name="connsiteX2" fmla="*/ 1256830 w 1256830"/>
              <a:gd name="connsiteY2" fmla="*/ 357663 h 1967886"/>
              <a:gd name="connsiteX3" fmla="*/ 1168541 w 1256830"/>
              <a:gd name="connsiteY3" fmla="*/ 686380 h 1967886"/>
              <a:gd name="connsiteX4" fmla="*/ 973813 w 1256830"/>
              <a:gd name="connsiteY4" fmla="*/ 1185590 h 1967886"/>
              <a:gd name="connsiteX5" fmla="*/ 377835 w 1256830"/>
              <a:gd name="connsiteY5" fmla="*/ 1967886 h 1967886"/>
              <a:gd name="connsiteX6" fmla="*/ 472774 w 1256830"/>
              <a:gd name="connsiteY6" fmla="*/ 1453495 h 1967886"/>
              <a:gd name="connsiteX7" fmla="*/ 0 w 1256830"/>
              <a:gd name="connsiteY7" fmla="*/ 1264134 h 1967886"/>
              <a:gd name="connsiteX8" fmla="*/ 175847 w 1256830"/>
              <a:gd name="connsiteY8" fmla="*/ 852151 h 1967886"/>
              <a:gd name="connsiteX9" fmla="*/ 432080 w 1256830"/>
              <a:gd name="connsiteY9" fmla="*/ 565774 h 1967886"/>
              <a:gd name="connsiteX10" fmla="*/ 658168 w 1256830"/>
              <a:gd name="connsiteY10" fmla="*/ 656209 h 1967886"/>
              <a:gd name="connsiteX11" fmla="*/ 728506 w 1256830"/>
              <a:gd name="connsiteY11" fmla="*/ 394951 h 1967886"/>
              <a:gd name="connsiteX12" fmla="*/ 537588 w 1256830"/>
              <a:gd name="connsiteY12" fmla="*/ 324614 h 1967886"/>
              <a:gd name="connsiteX13" fmla="*/ 517491 w 1256830"/>
              <a:gd name="connsiteY13" fmla="*/ 199008 h 1967886"/>
              <a:gd name="connsiteX14" fmla="*/ 402436 w 1256830"/>
              <a:gd name="connsiteY14" fmla="*/ 0 h 1967886"/>
              <a:gd name="connsiteX0" fmla="*/ 402436 w 1256830"/>
              <a:gd name="connsiteY0" fmla="*/ 0 h 1967886"/>
              <a:gd name="connsiteX1" fmla="*/ 747045 w 1256830"/>
              <a:gd name="connsiteY1" fmla="*/ 50242 h 1967886"/>
              <a:gd name="connsiteX2" fmla="*/ 1256830 w 1256830"/>
              <a:gd name="connsiteY2" fmla="*/ 357663 h 1967886"/>
              <a:gd name="connsiteX3" fmla="*/ 1168541 w 1256830"/>
              <a:gd name="connsiteY3" fmla="*/ 686380 h 1967886"/>
              <a:gd name="connsiteX4" fmla="*/ 973813 w 1256830"/>
              <a:gd name="connsiteY4" fmla="*/ 1185590 h 1967886"/>
              <a:gd name="connsiteX5" fmla="*/ 671525 w 1256830"/>
              <a:gd name="connsiteY5" fmla="*/ 1571577 h 1967886"/>
              <a:gd name="connsiteX6" fmla="*/ 377835 w 1256830"/>
              <a:gd name="connsiteY6" fmla="*/ 1967886 h 1967886"/>
              <a:gd name="connsiteX7" fmla="*/ 472774 w 1256830"/>
              <a:gd name="connsiteY7" fmla="*/ 1453495 h 1967886"/>
              <a:gd name="connsiteX8" fmla="*/ 0 w 1256830"/>
              <a:gd name="connsiteY8" fmla="*/ 1264134 h 1967886"/>
              <a:gd name="connsiteX9" fmla="*/ 175847 w 1256830"/>
              <a:gd name="connsiteY9" fmla="*/ 852151 h 1967886"/>
              <a:gd name="connsiteX10" fmla="*/ 432080 w 1256830"/>
              <a:gd name="connsiteY10" fmla="*/ 565774 h 1967886"/>
              <a:gd name="connsiteX11" fmla="*/ 658168 w 1256830"/>
              <a:gd name="connsiteY11" fmla="*/ 656209 h 1967886"/>
              <a:gd name="connsiteX12" fmla="*/ 728506 w 1256830"/>
              <a:gd name="connsiteY12" fmla="*/ 394951 h 1967886"/>
              <a:gd name="connsiteX13" fmla="*/ 537588 w 1256830"/>
              <a:gd name="connsiteY13" fmla="*/ 324614 h 1967886"/>
              <a:gd name="connsiteX14" fmla="*/ 517491 w 1256830"/>
              <a:gd name="connsiteY14" fmla="*/ 199008 h 1967886"/>
              <a:gd name="connsiteX15" fmla="*/ 402436 w 1256830"/>
              <a:gd name="connsiteY15" fmla="*/ 0 h 1967886"/>
              <a:gd name="connsiteX0" fmla="*/ 402436 w 1256830"/>
              <a:gd name="connsiteY0" fmla="*/ 0 h 1967886"/>
              <a:gd name="connsiteX1" fmla="*/ 747045 w 1256830"/>
              <a:gd name="connsiteY1" fmla="*/ 50242 h 1967886"/>
              <a:gd name="connsiteX2" fmla="*/ 1256830 w 1256830"/>
              <a:gd name="connsiteY2" fmla="*/ 357663 h 1967886"/>
              <a:gd name="connsiteX3" fmla="*/ 1168541 w 1256830"/>
              <a:gd name="connsiteY3" fmla="*/ 686380 h 1967886"/>
              <a:gd name="connsiteX4" fmla="*/ 973813 w 1256830"/>
              <a:gd name="connsiteY4" fmla="*/ 1185590 h 1967886"/>
              <a:gd name="connsiteX5" fmla="*/ 666763 w 1256830"/>
              <a:gd name="connsiteY5" fmla="*/ 1604914 h 1967886"/>
              <a:gd name="connsiteX6" fmla="*/ 377835 w 1256830"/>
              <a:gd name="connsiteY6" fmla="*/ 1967886 h 1967886"/>
              <a:gd name="connsiteX7" fmla="*/ 472774 w 1256830"/>
              <a:gd name="connsiteY7" fmla="*/ 1453495 h 1967886"/>
              <a:gd name="connsiteX8" fmla="*/ 0 w 1256830"/>
              <a:gd name="connsiteY8" fmla="*/ 1264134 h 1967886"/>
              <a:gd name="connsiteX9" fmla="*/ 175847 w 1256830"/>
              <a:gd name="connsiteY9" fmla="*/ 852151 h 1967886"/>
              <a:gd name="connsiteX10" fmla="*/ 432080 w 1256830"/>
              <a:gd name="connsiteY10" fmla="*/ 565774 h 1967886"/>
              <a:gd name="connsiteX11" fmla="*/ 658168 w 1256830"/>
              <a:gd name="connsiteY11" fmla="*/ 656209 h 1967886"/>
              <a:gd name="connsiteX12" fmla="*/ 728506 w 1256830"/>
              <a:gd name="connsiteY12" fmla="*/ 394951 h 1967886"/>
              <a:gd name="connsiteX13" fmla="*/ 537588 w 1256830"/>
              <a:gd name="connsiteY13" fmla="*/ 324614 h 1967886"/>
              <a:gd name="connsiteX14" fmla="*/ 517491 w 1256830"/>
              <a:gd name="connsiteY14" fmla="*/ 199008 h 1967886"/>
              <a:gd name="connsiteX15" fmla="*/ 402436 w 1256830"/>
              <a:gd name="connsiteY15" fmla="*/ 0 h 1967886"/>
              <a:gd name="connsiteX0" fmla="*/ 402436 w 1256830"/>
              <a:gd name="connsiteY0" fmla="*/ 0 h 1967886"/>
              <a:gd name="connsiteX1" fmla="*/ 747045 w 1256830"/>
              <a:gd name="connsiteY1" fmla="*/ 50242 h 1967886"/>
              <a:gd name="connsiteX2" fmla="*/ 1256830 w 1256830"/>
              <a:gd name="connsiteY2" fmla="*/ 357663 h 1967886"/>
              <a:gd name="connsiteX3" fmla="*/ 1168541 w 1256830"/>
              <a:gd name="connsiteY3" fmla="*/ 686380 h 1967886"/>
              <a:gd name="connsiteX4" fmla="*/ 1085863 w 1256830"/>
              <a:gd name="connsiteY4" fmla="*/ 890539 h 1967886"/>
              <a:gd name="connsiteX5" fmla="*/ 973813 w 1256830"/>
              <a:gd name="connsiteY5" fmla="*/ 1185590 h 1967886"/>
              <a:gd name="connsiteX6" fmla="*/ 666763 w 1256830"/>
              <a:gd name="connsiteY6" fmla="*/ 1604914 h 1967886"/>
              <a:gd name="connsiteX7" fmla="*/ 377835 w 1256830"/>
              <a:gd name="connsiteY7" fmla="*/ 1967886 h 1967886"/>
              <a:gd name="connsiteX8" fmla="*/ 472774 w 1256830"/>
              <a:gd name="connsiteY8" fmla="*/ 1453495 h 1967886"/>
              <a:gd name="connsiteX9" fmla="*/ 0 w 1256830"/>
              <a:gd name="connsiteY9" fmla="*/ 1264134 h 1967886"/>
              <a:gd name="connsiteX10" fmla="*/ 175847 w 1256830"/>
              <a:gd name="connsiteY10" fmla="*/ 852151 h 1967886"/>
              <a:gd name="connsiteX11" fmla="*/ 432080 w 1256830"/>
              <a:gd name="connsiteY11" fmla="*/ 565774 h 1967886"/>
              <a:gd name="connsiteX12" fmla="*/ 658168 w 1256830"/>
              <a:gd name="connsiteY12" fmla="*/ 656209 h 1967886"/>
              <a:gd name="connsiteX13" fmla="*/ 728506 w 1256830"/>
              <a:gd name="connsiteY13" fmla="*/ 394951 h 1967886"/>
              <a:gd name="connsiteX14" fmla="*/ 537588 w 1256830"/>
              <a:gd name="connsiteY14" fmla="*/ 324614 h 1967886"/>
              <a:gd name="connsiteX15" fmla="*/ 517491 w 1256830"/>
              <a:gd name="connsiteY15" fmla="*/ 199008 h 1967886"/>
              <a:gd name="connsiteX16" fmla="*/ 402436 w 1256830"/>
              <a:gd name="connsiteY16" fmla="*/ 0 h 1967886"/>
              <a:gd name="connsiteX0" fmla="*/ 402436 w 1256830"/>
              <a:gd name="connsiteY0" fmla="*/ 0 h 1967886"/>
              <a:gd name="connsiteX1" fmla="*/ 747045 w 1256830"/>
              <a:gd name="connsiteY1" fmla="*/ 50242 h 1967886"/>
              <a:gd name="connsiteX2" fmla="*/ 1256830 w 1256830"/>
              <a:gd name="connsiteY2" fmla="*/ 357663 h 1967886"/>
              <a:gd name="connsiteX3" fmla="*/ 1168541 w 1256830"/>
              <a:gd name="connsiteY3" fmla="*/ 686380 h 1967886"/>
              <a:gd name="connsiteX4" fmla="*/ 1093007 w 1256830"/>
              <a:gd name="connsiteY4" fmla="*/ 914352 h 1967886"/>
              <a:gd name="connsiteX5" fmla="*/ 973813 w 1256830"/>
              <a:gd name="connsiteY5" fmla="*/ 1185590 h 1967886"/>
              <a:gd name="connsiteX6" fmla="*/ 666763 w 1256830"/>
              <a:gd name="connsiteY6" fmla="*/ 1604914 h 1967886"/>
              <a:gd name="connsiteX7" fmla="*/ 377835 w 1256830"/>
              <a:gd name="connsiteY7" fmla="*/ 1967886 h 1967886"/>
              <a:gd name="connsiteX8" fmla="*/ 472774 w 1256830"/>
              <a:gd name="connsiteY8" fmla="*/ 1453495 h 1967886"/>
              <a:gd name="connsiteX9" fmla="*/ 0 w 1256830"/>
              <a:gd name="connsiteY9" fmla="*/ 1264134 h 1967886"/>
              <a:gd name="connsiteX10" fmla="*/ 175847 w 1256830"/>
              <a:gd name="connsiteY10" fmla="*/ 852151 h 1967886"/>
              <a:gd name="connsiteX11" fmla="*/ 432080 w 1256830"/>
              <a:gd name="connsiteY11" fmla="*/ 565774 h 1967886"/>
              <a:gd name="connsiteX12" fmla="*/ 658168 w 1256830"/>
              <a:gd name="connsiteY12" fmla="*/ 656209 h 1967886"/>
              <a:gd name="connsiteX13" fmla="*/ 728506 w 1256830"/>
              <a:gd name="connsiteY13" fmla="*/ 394951 h 1967886"/>
              <a:gd name="connsiteX14" fmla="*/ 537588 w 1256830"/>
              <a:gd name="connsiteY14" fmla="*/ 324614 h 1967886"/>
              <a:gd name="connsiteX15" fmla="*/ 517491 w 1256830"/>
              <a:gd name="connsiteY15" fmla="*/ 199008 h 1967886"/>
              <a:gd name="connsiteX16" fmla="*/ 402436 w 1256830"/>
              <a:gd name="connsiteY16" fmla="*/ 0 h 1967886"/>
              <a:gd name="connsiteX0" fmla="*/ 482112 w 1336506"/>
              <a:gd name="connsiteY0" fmla="*/ 0 h 1967886"/>
              <a:gd name="connsiteX1" fmla="*/ 826721 w 1336506"/>
              <a:gd name="connsiteY1" fmla="*/ 50242 h 1967886"/>
              <a:gd name="connsiteX2" fmla="*/ 1336506 w 1336506"/>
              <a:gd name="connsiteY2" fmla="*/ 357663 h 1967886"/>
              <a:gd name="connsiteX3" fmla="*/ 1248217 w 1336506"/>
              <a:gd name="connsiteY3" fmla="*/ 686380 h 1967886"/>
              <a:gd name="connsiteX4" fmla="*/ 1172683 w 1336506"/>
              <a:gd name="connsiteY4" fmla="*/ 914352 h 1967886"/>
              <a:gd name="connsiteX5" fmla="*/ 1053489 w 1336506"/>
              <a:gd name="connsiteY5" fmla="*/ 1185590 h 1967886"/>
              <a:gd name="connsiteX6" fmla="*/ 746439 w 1336506"/>
              <a:gd name="connsiteY6" fmla="*/ 1604914 h 1967886"/>
              <a:gd name="connsiteX7" fmla="*/ 457511 w 1336506"/>
              <a:gd name="connsiteY7" fmla="*/ 1967886 h 1967886"/>
              <a:gd name="connsiteX8" fmla="*/ 0 w 1336506"/>
              <a:gd name="connsiteY8" fmla="*/ 1558270 h 1967886"/>
              <a:gd name="connsiteX9" fmla="*/ 79676 w 1336506"/>
              <a:gd name="connsiteY9" fmla="*/ 1264134 h 1967886"/>
              <a:gd name="connsiteX10" fmla="*/ 255523 w 1336506"/>
              <a:gd name="connsiteY10" fmla="*/ 852151 h 1967886"/>
              <a:gd name="connsiteX11" fmla="*/ 511756 w 1336506"/>
              <a:gd name="connsiteY11" fmla="*/ 565774 h 1967886"/>
              <a:gd name="connsiteX12" fmla="*/ 737844 w 1336506"/>
              <a:gd name="connsiteY12" fmla="*/ 656209 h 1967886"/>
              <a:gd name="connsiteX13" fmla="*/ 808182 w 1336506"/>
              <a:gd name="connsiteY13" fmla="*/ 394951 h 1967886"/>
              <a:gd name="connsiteX14" fmla="*/ 617264 w 1336506"/>
              <a:gd name="connsiteY14" fmla="*/ 324614 h 1967886"/>
              <a:gd name="connsiteX15" fmla="*/ 597167 w 1336506"/>
              <a:gd name="connsiteY15" fmla="*/ 199008 h 1967886"/>
              <a:gd name="connsiteX16" fmla="*/ 482112 w 1336506"/>
              <a:gd name="connsiteY16" fmla="*/ 0 h 1967886"/>
              <a:gd name="connsiteX0" fmla="*/ 538168 w 1392562"/>
              <a:gd name="connsiteY0" fmla="*/ 0 h 1967886"/>
              <a:gd name="connsiteX1" fmla="*/ 882777 w 1392562"/>
              <a:gd name="connsiteY1" fmla="*/ 50242 h 1967886"/>
              <a:gd name="connsiteX2" fmla="*/ 1392562 w 1392562"/>
              <a:gd name="connsiteY2" fmla="*/ 357663 h 1967886"/>
              <a:gd name="connsiteX3" fmla="*/ 1304273 w 1392562"/>
              <a:gd name="connsiteY3" fmla="*/ 686380 h 1967886"/>
              <a:gd name="connsiteX4" fmla="*/ 1228739 w 1392562"/>
              <a:gd name="connsiteY4" fmla="*/ 914352 h 1967886"/>
              <a:gd name="connsiteX5" fmla="*/ 1109545 w 1392562"/>
              <a:gd name="connsiteY5" fmla="*/ 1185590 h 1967886"/>
              <a:gd name="connsiteX6" fmla="*/ 802495 w 1392562"/>
              <a:gd name="connsiteY6" fmla="*/ 1604914 h 1967886"/>
              <a:gd name="connsiteX7" fmla="*/ 513567 w 1392562"/>
              <a:gd name="connsiteY7" fmla="*/ 1967886 h 1967886"/>
              <a:gd name="connsiteX8" fmla="*/ 56056 w 1392562"/>
              <a:gd name="connsiteY8" fmla="*/ 1558270 h 1967886"/>
              <a:gd name="connsiteX9" fmla="*/ 0 w 1392562"/>
              <a:gd name="connsiteY9" fmla="*/ 1452253 h 1967886"/>
              <a:gd name="connsiteX10" fmla="*/ 311579 w 1392562"/>
              <a:gd name="connsiteY10" fmla="*/ 852151 h 1967886"/>
              <a:gd name="connsiteX11" fmla="*/ 567812 w 1392562"/>
              <a:gd name="connsiteY11" fmla="*/ 565774 h 1967886"/>
              <a:gd name="connsiteX12" fmla="*/ 793900 w 1392562"/>
              <a:gd name="connsiteY12" fmla="*/ 656209 h 1967886"/>
              <a:gd name="connsiteX13" fmla="*/ 864238 w 1392562"/>
              <a:gd name="connsiteY13" fmla="*/ 394951 h 1967886"/>
              <a:gd name="connsiteX14" fmla="*/ 673320 w 1392562"/>
              <a:gd name="connsiteY14" fmla="*/ 324614 h 1967886"/>
              <a:gd name="connsiteX15" fmla="*/ 653223 w 1392562"/>
              <a:gd name="connsiteY15" fmla="*/ 199008 h 1967886"/>
              <a:gd name="connsiteX16" fmla="*/ 538168 w 1392562"/>
              <a:gd name="connsiteY16" fmla="*/ 0 h 1967886"/>
              <a:gd name="connsiteX0" fmla="*/ 538168 w 1392562"/>
              <a:gd name="connsiteY0" fmla="*/ 0 h 1967886"/>
              <a:gd name="connsiteX1" fmla="*/ 882777 w 1392562"/>
              <a:gd name="connsiteY1" fmla="*/ 50242 h 1967886"/>
              <a:gd name="connsiteX2" fmla="*/ 1392562 w 1392562"/>
              <a:gd name="connsiteY2" fmla="*/ 357663 h 1967886"/>
              <a:gd name="connsiteX3" fmla="*/ 1304273 w 1392562"/>
              <a:gd name="connsiteY3" fmla="*/ 686380 h 1967886"/>
              <a:gd name="connsiteX4" fmla="*/ 1228739 w 1392562"/>
              <a:gd name="connsiteY4" fmla="*/ 914352 h 1967886"/>
              <a:gd name="connsiteX5" fmla="*/ 1109545 w 1392562"/>
              <a:gd name="connsiteY5" fmla="*/ 1185590 h 1967886"/>
              <a:gd name="connsiteX6" fmla="*/ 802495 w 1392562"/>
              <a:gd name="connsiteY6" fmla="*/ 1604914 h 1967886"/>
              <a:gd name="connsiteX7" fmla="*/ 513567 w 1392562"/>
              <a:gd name="connsiteY7" fmla="*/ 1967886 h 1967886"/>
              <a:gd name="connsiteX8" fmla="*/ 56056 w 1392562"/>
              <a:gd name="connsiteY8" fmla="*/ 1558270 h 1967886"/>
              <a:gd name="connsiteX9" fmla="*/ 0 w 1392562"/>
              <a:gd name="connsiteY9" fmla="*/ 1452253 h 1967886"/>
              <a:gd name="connsiteX10" fmla="*/ 123838 w 1392562"/>
              <a:gd name="connsiteY10" fmla="*/ 1212008 h 1967886"/>
              <a:gd name="connsiteX11" fmla="*/ 311579 w 1392562"/>
              <a:gd name="connsiteY11" fmla="*/ 852151 h 1967886"/>
              <a:gd name="connsiteX12" fmla="*/ 567812 w 1392562"/>
              <a:gd name="connsiteY12" fmla="*/ 565774 h 1967886"/>
              <a:gd name="connsiteX13" fmla="*/ 793900 w 1392562"/>
              <a:gd name="connsiteY13" fmla="*/ 656209 h 1967886"/>
              <a:gd name="connsiteX14" fmla="*/ 864238 w 1392562"/>
              <a:gd name="connsiteY14" fmla="*/ 394951 h 1967886"/>
              <a:gd name="connsiteX15" fmla="*/ 673320 w 1392562"/>
              <a:gd name="connsiteY15" fmla="*/ 324614 h 1967886"/>
              <a:gd name="connsiteX16" fmla="*/ 653223 w 1392562"/>
              <a:gd name="connsiteY16" fmla="*/ 199008 h 1967886"/>
              <a:gd name="connsiteX17" fmla="*/ 538168 w 1392562"/>
              <a:gd name="connsiteY17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330616 w 1411599"/>
              <a:gd name="connsiteY11" fmla="*/ 852151 h 1967886"/>
              <a:gd name="connsiteX12" fmla="*/ 586849 w 1411599"/>
              <a:gd name="connsiteY12" fmla="*/ 565774 h 1967886"/>
              <a:gd name="connsiteX13" fmla="*/ 812937 w 1411599"/>
              <a:gd name="connsiteY13" fmla="*/ 656209 h 1967886"/>
              <a:gd name="connsiteX14" fmla="*/ 883275 w 1411599"/>
              <a:gd name="connsiteY14" fmla="*/ 394951 h 1967886"/>
              <a:gd name="connsiteX15" fmla="*/ 692357 w 1411599"/>
              <a:gd name="connsiteY15" fmla="*/ 324614 h 1967886"/>
              <a:gd name="connsiteX16" fmla="*/ 672260 w 1411599"/>
              <a:gd name="connsiteY16" fmla="*/ 199008 h 1967886"/>
              <a:gd name="connsiteX17" fmla="*/ 557205 w 1411599"/>
              <a:gd name="connsiteY17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38114 w 1411599"/>
              <a:gd name="connsiteY11" fmla="*/ 1138189 h 1967886"/>
              <a:gd name="connsiteX12" fmla="*/ 330616 w 1411599"/>
              <a:gd name="connsiteY12" fmla="*/ 852151 h 1967886"/>
              <a:gd name="connsiteX13" fmla="*/ 586849 w 1411599"/>
              <a:gd name="connsiteY13" fmla="*/ 565774 h 1967886"/>
              <a:gd name="connsiteX14" fmla="*/ 812937 w 1411599"/>
              <a:gd name="connsiteY14" fmla="*/ 656209 h 1967886"/>
              <a:gd name="connsiteX15" fmla="*/ 883275 w 1411599"/>
              <a:gd name="connsiteY15" fmla="*/ 394951 h 1967886"/>
              <a:gd name="connsiteX16" fmla="*/ 692357 w 1411599"/>
              <a:gd name="connsiteY16" fmla="*/ 324614 h 1967886"/>
              <a:gd name="connsiteX17" fmla="*/ 672260 w 1411599"/>
              <a:gd name="connsiteY17" fmla="*/ 199008 h 1967886"/>
              <a:gd name="connsiteX18" fmla="*/ 557205 w 1411599"/>
              <a:gd name="connsiteY18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0616 w 1411599"/>
              <a:gd name="connsiteY12" fmla="*/ 852151 h 1967886"/>
              <a:gd name="connsiteX13" fmla="*/ 586849 w 1411599"/>
              <a:gd name="connsiteY13" fmla="*/ 565774 h 1967886"/>
              <a:gd name="connsiteX14" fmla="*/ 812937 w 1411599"/>
              <a:gd name="connsiteY14" fmla="*/ 656209 h 1967886"/>
              <a:gd name="connsiteX15" fmla="*/ 883275 w 1411599"/>
              <a:gd name="connsiteY15" fmla="*/ 394951 h 1967886"/>
              <a:gd name="connsiteX16" fmla="*/ 692357 w 1411599"/>
              <a:gd name="connsiteY16" fmla="*/ 324614 h 1967886"/>
              <a:gd name="connsiteX17" fmla="*/ 672260 w 1411599"/>
              <a:gd name="connsiteY17" fmla="*/ 199008 h 1967886"/>
              <a:gd name="connsiteX18" fmla="*/ 557205 w 1411599"/>
              <a:gd name="connsiteY18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169070 w 1411599"/>
              <a:gd name="connsiteY12" fmla="*/ 1061989 h 1967886"/>
              <a:gd name="connsiteX13" fmla="*/ 330616 w 1411599"/>
              <a:gd name="connsiteY13" fmla="*/ 852151 h 1967886"/>
              <a:gd name="connsiteX14" fmla="*/ 586849 w 1411599"/>
              <a:gd name="connsiteY14" fmla="*/ 565774 h 1967886"/>
              <a:gd name="connsiteX15" fmla="*/ 812937 w 1411599"/>
              <a:gd name="connsiteY15" fmla="*/ 656209 h 1967886"/>
              <a:gd name="connsiteX16" fmla="*/ 883275 w 1411599"/>
              <a:gd name="connsiteY16" fmla="*/ 394951 h 1967886"/>
              <a:gd name="connsiteX17" fmla="*/ 692357 w 1411599"/>
              <a:gd name="connsiteY17" fmla="*/ 324614 h 1967886"/>
              <a:gd name="connsiteX18" fmla="*/ 672260 w 1411599"/>
              <a:gd name="connsiteY18" fmla="*/ 199008 h 1967886"/>
              <a:gd name="connsiteX19" fmla="*/ 557205 w 1411599"/>
              <a:gd name="connsiteY19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330616 w 1411599"/>
              <a:gd name="connsiteY13" fmla="*/ 852151 h 1967886"/>
              <a:gd name="connsiteX14" fmla="*/ 586849 w 1411599"/>
              <a:gd name="connsiteY14" fmla="*/ 565774 h 1967886"/>
              <a:gd name="connsiteX15" fmla="*/ 812937 w 1411599"/>
              <a:gd name="connsiteY15" fmla="*/ 656209 h 1967886"/>
              <a:gd name="connsiteX16" fmla="*/ 883275 w 1411599"/>
              <a:gd name="connsiteY16" fmla="*/ 394951 h 1967886"/>
              <a:gd name="connsiteX17" fmla="*/ 692357 w 1411599"/>
              <a:gd name="connsiteY17" fmla="*/ 324614 h 1967886"/>
              <a:gd name="connsiteX18" fmla="*/ 672260 w 1411599"/>
              <a:gd name="connsiteY18" fmla="*/ 199008 h 1967886"/>
              <a:gd name="connsiteX19" fmla="*/ 557205 w 1411599"/>
              <a:gd name="connsiteY19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95264 w 1411599"/>
              <a:gd name="connsiteY13" fmla="*/ 1007220 h 1967886"/>
              <a:gd name="connsiteX14" fmla="*/ 330616 w 1411599"/>
              <a:gd name="connsiteY14" fmla="*/ 852151 h 1967886"/>
              <a:gd name="connsiteX15" fmla="*/ 586849 w 1411599"/>
              <a:gd name="connsiteY15" fmla="*/ 565774 h 1967886"/>
              <a:gd name="connsiteX16" fmla="*/ 812937 w 1411599"/>
              <a:gd name="connsiteY16" fmla="*/ 656209 h 1967886"/>
              <a:gd name="connsiteX17" fmla="*/ 883275 w 1411599"/>
              <a:gd name="connsiteY17" fmla="*/ 394951 h 1967886"/>
              <a:gd name="connsiteX18" fmla="*/ 692357 w 1411599"/>
              <a:gd name="connsiteY18" fmla="*/ 324614 h 1967886"/>
              <a:gd name="connsiteX19" fmla="*/ 672260 w 1411599"/>
              <a:gd name="connsiteY19" fmla="*/ 199008 h 1967886"/>
              <a:gd name="connsiteX20" fmla="*/ 557205 w 1411599"/>
              <a:gd name="connsiteY20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330616 w 1411599"/>
              <a:gd name="connsiteY14" fmla="*/ 852151 h 1967886"/>
              <a:gd name="connsiteX15" fmla="*/ 586849 w 1411599"/>
              <a:gd name="connsiteY15" fmla="*/ 565774 h 1967886"/>
              <a:gd name="connsiteX16" fmla="*/ 812937 w 1411599"/>
              <a:gd name="connsiteY16" fmla="*/ 656209 h 1967886"/>
              <a:gd name="connsiteX17" fmla="*/ 883275 w 1411599"/>
              <a:gd name="connsiteY17" fmla="*/ 394951 h 1967886"/>
              <a:gd name="connsiteX18" fmla="*/ 692357 w 1411599"/>
              <a:gd name="connsiteY18" fmla="*/ 324614 h 1967886"/>
              <a:gd name="connsiteX19" fmla="*/ 672260 w 1411599"/>
              <a:gd name="connsiteY19" fmla="*/ 199008 h 1967886"/>
              <a:gd name="connsiteX20" fmla="*/ 557205 w 1411599"/>
              <a:gd name="connsiteY20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33364 w 1411599"/>
              <a:gd name="connsiteY14" fmla="*/ 945308 h 1967886"/>
              <a:gd name="connsiteX15" fmla="*/ 330616 w 1411599"/>
              <a:gd name="connsiteY15" fmla="*/ 852151 h 1967886"/>
              <a:gd name="connsiteX16" fmla="*/ 586849 w 1411599"/>
              <a:gd name="connsiteY16" fmla="*/ 565774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30616 w 1411599"/>
              <a:gd name="connsiteY15" fmla="*/ 852151 h 1967886"/>
              <a:gd name="connsiteX16" fmla="*/ 586849 w 1411599"/>
              <a:gd name="connsiteY16" fmla="*/ 565774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23472 w 1411599"/>
              <a:gd name="connsiteY15" fmla="*/ 749757 h 1967886"/>
              <a:gd name="connsiteX16" fmla="*/ 586849 w 1411599"/>
              <a:gd name="connsiteY16" fmla="*/ 565774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23472 w 1411599"/>
              <a:gd name="connsiteY15" fmla="*/ 749757 h 1967886"/>
              <a:gd name="connsiteX16" fmla="*/ 417780 w 1411599"/>
              <a:gd name="connsiteY16" fmla="*/ 496718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417780 w 1411599"/>
              <a:gd name="connsiteY16" fmla="*/ 496718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812937 w 1411599"/>
              <a:gd name="connsiteY17" fmla="*/ 656209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429555 w 1411599"/>
              <a:gd name="connsiteY17" fmla="*/ 463328 h 1967886"/>
              <a:gd name="connsiteX18" fmla="*/ 883275 w 1411599"/>
              <a:gd name="connsiteY18" fmla="*/ 394951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429555 w 1411599"/>
              <a:gd name="connsiteY17" fmla="*/ 463328 h 1967886"/>
              <a:gd name="connsiteX18" fmla="*/ 464175 w 1411599"/>
              <a:gd name="connsiteY18" fmla="*/ 340182 h 1967886"/>
              <a:gd name="connsiteX19" fmla="*/ 692357 w 1411599"/>
              <a:gd name="connsiteY19" fmla="*/ 324614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429555 w 1411599"/>
              <a:gd name="connsiteY17" fmla="*/ 463328 h 1967886"/>
              <a:gd name="connsiteX18" fmla="*/ 464175 w 1411599"/>
              <a:gd name="connsiteY18" fmla="*/ 340182 h 1967886"/>
              <a:gd name="connsiteX19" fmla="*/ 473282 w 1411599"/>
              <a:gd name="connsiteY19" fmla="*/ 215076 h 1967886"/>
              <a:gd name="connsiteX20" fmla="*/ 672260 w 1411599"/>
              <a:gd name="connsiteY20" fmla="*/ 199008 h 1967886"/>
              <a:gd name="connsiteX21" fmla="*/ 557205 w 1411599"/>
              <a:gd name="connsiteY21" fmla="*/ 0 h 1967886"/>
              <a:gd name="connsiteX0" fmla="*/ 557205 w 1411599"/>
              <a:gd name="connsiteY0" fmla="*/ 0 h 1967886"/>
              <a:gd name="connsiteX1" fmla="*/ 901814 w 1411599"/>
              <a:gd name="connsiteY1" fmla="*/ 50242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429555 w 1411599"/>
              <a:gd name="connsiteY17" fmla="*/ 463328 h 1967886"/>
              <a:gd name="connsiteX18" fmla="*/ 464175 w 1411599"/>
              <a:gd name="connsiteY18" fmla="*/ 340182 h 1967886"/>
              <a:gd name="connsiteX19" fmla="*/ 473282 w 1411599"/>
              <a:gd name="connsiteY19" fmla="*/ 215076 h 1967886"/>
              <a:gd name="connsiteX20" fmla="*/ 557205 w 1411599"/>
              <a:gd name="connsiteY20" fmla="*/ 0 h 1967886"/>
              <a:gd name="connsiteX0" fmla="*/ 557205 w 1411599"/>
              <a:gd name="connsiteY0" fmla="*/ 0 h 1967886"/>
              <a:gd name="connsiteX1" fmla="*/ 1008971 w 1411599"/>
              <a:gd name="connsiteY1" fmla="*/ 185973 h 1967886"/>
              <a:gd name="connsiteX2" fmla="*/ 1411599 w 1411599"/>
              <a:gd name="connsiteY2" fmla="*/ 357663 h 1967886"/>
              <a:gd name="connsiteX3" fmla="*/ 1323310 w 1411599"/>
              <a:gd name="connsiteY3" fmla="*/ 686380 h 1967886"/>
              <a:gd name="connsiteX4" fmla="*/ 1247776 w 1411599"/>
              <a:gd name="connsiteY4" fmla="*/ 914352 h 1967886"/>
              <a:gd name="connsiteX5" fmla="*/ 1128582 w 1411599"/>
              <a:gd name="connsiteY5" fmla="*/ 1185590 h 1967886"/>
              <a:gd name="connsiteX6" fmla="*/ 821532 w 1411599"/>
              <a:gd name="connsiteY6" fmla="*/ 1604914 h 1967886"/>
              <a:gd name="connsiteX7" fmla="*/ 532604 w 1411599"/>
              <a:gd name="connsiteY7" fmla="*/ 1967886 h 1967886"/>
              <a:gd name="connsiteX8" fmla="*/ 75093 w 1411599"/>
              <a:gd name="connsiteY8" fmla="*/ 1558270 h 1967886"/>
              <a:gd name="connsiteX9" fmla="*/ 19037 w 1411599"/>
              <a:gd name="connsiteY9" fmla="*/ 1452253 h 1967886"/>
              <a:gd name="connsiteX10" fmla="*/ 0 w 1411599"/>
              <a:gd name="connsiteY10" fmla="*/ 1362027 h 1967886"/>
              <a:gd name="connsiteX11" fmla="*/ 14289 w 1411599"/>
              <a:gd name="connsiteY11" fmla="*/ 1264395 h 1967886"/>
              <a:gd name="connsiteX12" fmla="*/ 33339 w 1411599"/>
              <a:gd name="connsiteY12" fmla="*/ 1181052 h 1967886"/>
              <a:gd name="connsiteX13" fmla="*/ 116682 w 1411599"/>
              <a:gd name="connsiteY13" fmla="*/ 1076276 h 1967886"/>
              <a:gd name="connsiteX14" fmla="*/ 247652 w 1411599"/>
              <a:gd name="connsiteY14" fmla="*/ 950071 h 1967886"/>
              <a:gd name="connsiteX15" fmla="*/ 313947 w 1411599"/>
              <a:gd name="connsiteY15" fmla="*/ 771188 h 1967886"/>
              <a:gd name="connsiteX16" fmla="*/ 351105 w 1411599"/>
              <a:gd name="connsiteY16" fmla="*/ 653880 h 1967886"/>
              <a:gd name="connsiteX17" fmla="*/ 429555 w 1411599"/>
              <a:gd name="connsiteY17" fmla="*/ 463328 h 1967886"/>
              <a:gd name="connsiteX18" fmla="*/ 464175 w 1411599"/>
              <a:gd name="connsiteY18" fmla="*/ 340182 h 1967886"/>
              <a:gd name="connsiteX19" fmla="*/ 473282 w 1411599"/>
              <a:gd name="connsiteY19" fmla="*/ 215076 h 1967886"/>
              <a:gd name="connsiteX20" fmla="*/ 557205 w 1411599"/>
              <a:gd name="connsiteY20" fmla="*/ 0 h 1967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1411599" h="1967886">
                <a:moveTo>
                  <a:pt x="557205" y="0"/>
                </a:moveTo>
                <a:lnTo>
                  <a:pt x="1008971" y="185973"/>
                </a:lnTo>
                <a:lnTo>
                  <a:pt x="1411599" y="357663"/>
                </a:lnTo>
                <a:lnTo>
                  <a:pt x="1323310" y="686380"/>
                </a:lnTo>
                <a:lnTo>
                  <a:pt x="1247776" y="914352"/>
                </a:lnTo>
                <a:lnTo>
                  <a:pt x="1128582" y="1185590"/>
                </a:lnTo>
                <a:lnTo>
                  <a:pt x="821532" y="1604914"/>
                </a:lnTo>
                <a:lnTo>
                  <a:pt x="532604" y="1967886"/>
                </a:lnTo>
                <a:lnTo>
                  <a:pt x="75093" y="1558270"/>
                </a:lnTo>
                <a:lnTo>
                  <a:pt x="19037" y="1452253"/>
                </a:lnTo>
                <a:lnTo>
                  <a:pt x="0" y="1362027"/>
                </a:lnTo>
                <a:lnTo>
                  <a:pt x="14289" y="1264395"/>
                </a:lnTo>
                <a:lnTo>
                  <a:pt x="33339" y="1181052"/>
                </a:lnTo>
                <a:lnTo>
                  <a:pt x="116682" y="1076276"/>
                </a:lnTo>
                <a:lnTo>
                  <a:pt x="247652" y="950071"/>
                </a:lnTo>
                <a:lnTo>
                  <a:pt x="313947" y="771188"/>
                </a:lnTo>
                <a:lnTo>
                  <a:pt x="351105" y="653880"/>
                </a:lnTo>
                <a:lnTo>
                  <a:pt x="429555" y="463328"/>
                </a:lnTo>
                <a:lnTo>
                  <a:pt x="464175" y="340182"/>
                </a:lnTo>
                <a:lnTo>
                  <a:pt x="473282" y="215076"/>
                </a:lnTo>
                <a:lnTo>
                  <a:pt x="557205" y="0"/>
                </a:lnTo>
                <a:close/>
              </a:path>
            </a:pathLst>
          </a:custGeom>
          <a:solidFill>
            <a:srgbClr val="00CC99">
              <a:alpha val="50196"/>
            </a:srgbClr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80" name="Rectangle 70">
            <a:extLst>
              <a:ext uri="{FF2B5EF4-FFF2-40B4-BE49-F238E27FC236}">
                <a16:creationId xmlns:a16="http://schemas.microsoft.com/office/drawing/2014/main" id="{DA55139B-4823-4A14-8683-1EE77653590A}"/>
              </a:ext>
            </a:extLst>
          </p:cNvPr>
          <p:cNvSpPr/>
          <p:nvPr/>
        </p:nvSpPr>
        <p:spPr>
          <a:xfrm rot="17243720">
            <a:off x="7414930" y="991901"/>
            <a:ext cx="3072577" cy="1989716"/>
          </a:xfrm>
          <a:custGeom>
            <a:avLst/>
            <a:gdLst>
              <a:gd name="connsiteX0" fmla="*/ 0 w 311960"/>
              <a:gd name="connsiteY0" fmla="*/ 0 h 404205"/>
              <a:gd name="connsiteX1" fmla="*/ 311960 w 311960"/>
              <a:gd name="connsiteY1" fmla="*/ 0 h 404205"/>
              <a:gd name="connsiteX2" fmla="*/ 311960 w 311960"/>
              <a:gd name="connsiteY2" fmla="*/ 404205 h 404205"/>
              <a:gd name="connsiteX3" fmla="*/ 0 w 311960"/>
              <a:gd name="connsiteY3" fmla="*/ 404205 h 404205"/>
              <a:gd name="connsiteX4" fmla="*/ 0 w 311960"/>
              <a:gd name="connsiteY4" fmla="*/ 0 h 404205"/>
              <a:gd name="connsiteX0" fmla="*/ 0 w 311960"/>
              <a:gd name="connsiteY0" fmla="*/ 0 h 409052"/>
              <a:gd name="connsiteX1" fmla="*/ 311960 w 311960"/>
              <a:gd name="connsiteY1" fmla="*/ 0 h 409052"/>
              <a:gd name="connsiteX2" fmla="*/ 288524 w 311960"/>
              <a:gd name="connsiteY2" fmla="*/ 409052 h 409052"/>
              <a:gd name="connsiteX3" fmla="*/ 0 w 311960"/>
              <a:gd name="connsiteY3" fmla="*/ 404205 h 409052"/>
              <a:gd name="connsiteX4" fmla="*/ 0 w 311960"/>
              <a:gd name="connsiteY4" fmla="*/ 0 h 409052"/>
              <a:gd name="connsiteX0" fmla="*/ 30828 w 342788"/>
              <a:gd name="connsiteY0" fmla="*/ 0 h 409052"/>
              <a:gd name="connsiteX1" fmla="*/ 342788 w 342788"/>
              <a:gd name="connsiteY1" fmla="*/ 0 h 409052"/>
              <a:gd name="connsiteX2" fmla="*/ 319352 w 342788"/>
              <a:gd name="connsiteY2" fmla="*/ 409052 h 409052"/>
              <a:gd name="connsiteX3" fmla="*/ 0 w 342788"/>
              <a:gd name="connsiteY3" fmla="*/ 401386 h 409052"/>
              <a:gd name="connsiteX4" fmla="*/ 30828 w 342788"/>
              <a:gd name="connsiteY4" fmla="*/ 0 h 409052"/>
              <a:gd name="connsiteX0" fmla="*/ 30691 w 342788"/>
              <a:gd name="connsiteY0" fmla="*/ 7529 h 409052"/>
              <a:gd name="connsiteX1" fmla="*/ 342788 w 342788"/>
              <a:gd name="connsiteY1" fmla="*/ 0 h 409052"/>
              <a:gd name="connsiteX2" fmla="*/ 319352 w 342788"/>
              <a:gd name="connsiteY2" fmla="*/ 409052 h 409052"/>
              <a:gd name="connsiteX3" fmla="*/ 0 w 342788"/>
              <a:gd name="connsiteY3" fmla="*/ 401386 h 409052"/>
              <a:gd name="connsiteX4" fmla="*/ 30691 w 342788"/>
              <a:gd name="connsiteY4" fmla="*/ 7529 h 409052"/>
              <a:gd name="connsiteX0" fmla="*/ 30691 w 346620"/>
              <a:gd name="connsiteY0" fmla="*/ 11224 h 412747"/>
              <a:gd name="connsiteX1" fmla="*/ 346620 w 346620"/>
              <a:gd name="connsiteY1" fmla="*/ 0 h 412747"/>
              <a:gd name="connsiteX2" fmla="*/ 319352 w 346620"/>
              <a:gd name="connsiteY2" fmla="*/ 412747 h 412747"/>
              <a:gd name="connsiteX3" fmla="*/ 0 w 346620"/>
              <a:gd name="connsiteY3" fmla="*/ 405081 h 412747"/>
              <a:gd name="connsiteX4" fmla="*/ 30691 w 346620"/>
              <a:gd name="connsiteY4" fmla="*/ 11224 h 412747"/>
              <a:gd name="connsiteX0" fmla="*/ 34593 w 350522"/>
              <a:gd name="connsiteY0" fmla="*/ 11224 h 509446"/>
              <a:gd name="connsiteX1" fmla="*/ 350522 w 350522"/>
              <a:gd name="connsiteY1" fmla="*/ 0 h 509446"/>
              <a:gd name="connsiteX2" fmla="*/ 323254 w 350522"/>
              <a:gd name="connsiteY2" fmla="*/ 412747 h 509446"/>
              <a:gd name="connsiteX3" fmla="*/ 0 w 350522"/>
              <a:gd name="connsiteY3" fmla="*/ 509446 h 509446"/>
              <a:gd name="connsiteX4" fmla="*/ 34593 w 350522"/>
              <a:gd name="connsiteY4" fmla="*/ 11224 h 509446"/>
              <a:gd name="connsiteX0" fmla="*/ 34593 w 350522"/>
              <a:gd name="connsiteY0" fmla="*/ 11224 h 509446"/>
              <a:gd name="connsiteX1" fmla="*/ 350522 w 350522"/>
              <a:gd name="connsiteY1" fmla="*/ 0 h 509446"/>
              <a:gd name="connsiteX2" fmla="*/ 215859 w 350522"/>
              <a:gd name="connsiteY2" fmla="*/ 409794 h 509446"/>
              <a:gd name="connsiteX3" fmla="*/ 0 w 350522"/>
              <a:gd name="connsiteY3" fmla="*/ 509446 h 509446"/>
              <a:gd name="connsiteX4" fmla="*/ 34593 w 350522"/>
              <a:gd name="connsiteY4" fmla="*/ 11224 h 509446"/>
              <a:gd name="connsiteX0" fmla="*/ 34593 w 350522"/>
              <a:gd name="connsiteY0" fmla="*/ 11224 h 509446"/>
              <a:gd name="connsiteX1" fmla="*/ 350522 w 350522"/>
              <a:gd name="connsiteY1" fmla="*/ 0 h 509446"/>
              <a:gd name="connsiteX2" fmla="*/ 308636 w 350522"/>
              <a:gd name="connsiteY2" fmla="*/ 125975 h 509446"/>
              <a:gd name="connsiteX3" fmla="*/ 215859 w 350522"/>
              <a:gd name="connsiteY3" fmla="*/ 409794 h 509446"/>
              <a:gd name="connsiteX4" fmla="*/ 0 w 350522"/>
              <a:gd name="connsiteY4" fmla="*/ 509446 h 509446"/>
              <a:gd name="connsiteX5" fmla="*/ 34593 w 350522"/>
              <a:gd name="connsiteY5" fmla="*/ 11224 h 509446"/>
              <a:gd name="connsiteX0" fmla="*/ 34593 w 578911"/>
              <a:gd name="connsiteY0" fmla="*/ 11224 h 509446"/>
              <a:gd name="connsiteX1" fmla="*/ 350522 w 578911"/>
              <a:gd name="connsiteY1" fmla="*/ 0 h 509446"/>
              <a:gd name="connsiteX2" fmla="*/ 578911 w 578911"/>
              <a:gd name="connsiteY2" fmla="*/ 117826 h 509446"/>
              <a:gd name="connsiteX3" fmla="*/ 215859 w 578911"/>
              <a:gd name="connsiteY3" fmla="*/ 409794 h 509446"/>
              <a:gd name="connsiteX4" fmla="*/ 0 w 578911"/>
              <a:gd name="connsiteY4" fmla="*/ 509446 h 509446"/>
              <a:gd name="connsiteX5" fmla="*/ 34593 w 578911"/>
              <a:gd name="connsiteY5" fmla="*/ 11224 h 509446"/>
              <a:gd name="connsiteX0" fmla="*/ 34593 w 776447"/>
              <a:gd name="connsiteY0" fmla="*/ 74793 h 573015"/>
              <a:gd name="connsiteX1" fmla="*/ 776447 w 776447"/>
              <a:gd name="connsiteY1" fmla="*/ 0 h 573015"/>
              <a:gd name="connsiteX2" fmla="*/ 578911 w 776447"/>
              <a:gd name="connsiteY2" fmla="*/ 181395 h 573015"/>
              <a:gd name="connsiteX3" fmla="*/ 215859 w 776447"/>
              <a:gd name="connsiteY3" fmla="*/ 473363 h 573015"/>
              <a:gd name="connsiteX4" fmla="*/ 0 w 776447"/>
              <a:gd name="connsiteY4" fmla="*/ 573015 h 573015"/>
              <a:gd name="connsiteX5" fmla="*/ 34593 w 776447"/>
              <a:gd name="connsiteY5" fmla="*/ 74793 h 573015"/>
              <a:gd name="connsiteX0" fmla="*/ 901880 w 901880"/>
              <a:gd name="connsiteY0" fmla="*/ 0 h 756627"/>
              <a:gd name="connsiteX1" fmla="*/ 776447 w 901880"/>
              <a:gd name="connsiteY1" fmla="*/ 183612 h 756627"/>
              <a:gd name="connsiteX2" fmla="*/ 578911 w 901880"/>
              <a:gd name="connsiteY2" fmla="*/ 365007 h 756627"/>
              <a:gd name="connsiteX3" fmla="*/ 215859 w 901880"/>
              <a:gd name="connsiteY3" fmla="*/ 656975 h 756627"/>
              <a:gd name="connsiteX4" fmla="*/ 0 w 901880"/>
              <a:gd name="connsiteY4" fmla="*/ 756627 h 756627"/>
              <a:gd name="connsiteX5" fmla="*/ 901880 w 901880"/>
              <a:gd name="connsiteY5" fmla="*/ 0 h 756627"/>
              <a:gd name="connsiteX0" fmla="*/ 901880 w 901880"/>
              <a:gd name="connsiteY0" fmla="*/ 0 h 756627"/>
              <a:gd name="connsiteX1" fmla="*/ 776447 w 901880"/>
              <a:gd name="connsiteY1" fmla="*/ 183612 h 756627"/>
              <a:gd name="connsiteX2" fmla="*/ 578911 w 901880"/>
              <a:gd name="connsiteY2" fmla="*/ 365007 h 756627"/>
              <a:gd name="connsiteX3" fmla="*/ 215859 w 901880"/>
              <a:gd name="connsiteY3" fmla="*/ 656975 h 756627"/>
              <a:gd name="connsiteX4" fmla="*/ 0 w 901880"/>
              <a:gd name="connsiteY4" fmla="*/ 756627 h 756627"/>
              <a:gd name="connsiteX5" fmla="*/ 492906 w 901880"/>
              <a:gd name="connsiteY5" fmla="*/ 345371 h 756627"/>
              <a:gd name="connsiteX6" fmla="*/ 901880 w 901880"/>
              <a:gd name="connsiteY6" fmla="*/ 0 h 756627"/>
              <a:gd name="connsiteX0" fmla="*/ 1323252 w 1323252"/>
              <a:gd name="connsiteY0" fmla="*/ 735660 h 1492287"/>
              <a:gd name="connsiteX1" fmla="*/ 1197819 w 1323252"/>
              <a:gd name="connsiteY1" fmla="*/ 919272 h 1492287"/>
              <a:gd name="connsiteX2" fmla="*/ 1000283 w 1323252"/>
              <a:gd name="connsiteY2" fmla="*/ 1100667 h 1492287"/>
              <a:gd name="connsiteX3" fmla="*/ 637231 w 1323252"/>
              <a:gd name="connsiteY3" fmla="*/ 1392635 h 1492287"/>
              <a:gd name="connsiteX4" fmla="*/ 421372 w 1323252"/>
              <a:gd name="connsiteY4" fmla="*/ 1492287 h 1492287"/>
              <a:gd name="connsiteX5" fmla="*/ 0 w 1323252"/>
              <a:gd name="connsiteY5" fmla="*/ 0 h 1492287"/>
              <a:gd name="connsiteX6" fmla="*/ 1323252 w 1323252"/>
              <a:gd name="connsiteY6" fmla="*/ 735660 h 1492287"/>
              <a:gd name="connsiteX0" fmla="*/ 1323252 w 1323252"/>
              <a:gd name="connsiteY0" fmla="*/ 735660 h 1492287"/>
              <a:gd name="connsiteX1" fmla="*/ 1197819 w 1323252"/>
              <a:gd name="connsiteY1" fmla="*/ 919272 h 1492287"/>
              <a:gd name="connsiteX2" fmla="*/ 1000283 w 1323252"/>
              <a:gd name="connsiteY2" fmla="*/ 1100667 h 1492287"/>
              <a:gd name="connsiteX3" fmla="*/ 637231 w 1323252"/>
              <a:gd name="connsiteY3" fmla="*/ 1392635 h 1492287"/>
              <a:gd name="connsiteX4" fmla="*/ 421372 w 1323252"/>
              <a:gd name="connsiteY4" fmla="*/ 1492287 h 1492287"/>
              <a:gd name="connsiteX5" fmla="*/ 183236 w 1323252"/>
              <a:gd name="connsiteY5" fmla="*/ 637972 h 1492287"/>
              <a:gd name="connsiteX6" fmla="*/ 0 w 1323252"/>
              <a:gd name="connsiteY6" fmla="*/ 0 h 1492287"/>
              <a:gd name="connsiteX7" fmla="*/ 1323252 w 1323252"/>
              <a:gd name="connsiteY7" fmla="*/ 735660 h 1492287"/>
              <a:gd name="connsiteX0" fmla="*/ 2195218 w 2195218"/>
              <a:gd name="connsiteY0" fmla="*/ 735660 h 1492287"/>
              <a:gd name="connsiteX1" fmla="*/ 2069785 w 2195218"/>
              <a:gd name="connsiteY1" fmla="*/ 919272 h 1492287"/>
              <a:gd name="connsiteX2" fmla="*/ 1872249 w 2195218"/>
              <a:gd name="connsiteY2" fmla="*/ 1100667 h 1492287"/>
              <a:gd name="connsiteX3" fmla="*/ 1509197 w 2195218"/>
              <a:gd name="connsiteY3" fmla="*/ 1392635 h 1492287"/>
              <a:gd name="connsiteX4" fmla="*/ 1293338 w 2195218"/>
              <a:gd name="connsiteY4" fmla="*/ 1492287 h 1492287"/>
              <a:gd name="connsiteX5" fmla="*/ 0 w 2195218"/>
              <a:gd name="connsiteY5" fmla="*/ 73548 h 1492287"/>
              <a:gd name="connsiteX6" fmla="*/ 871966 w 2195218"/>
              <a:gd name="connsiteY6" fmla="*/ 0 h 1492287"/>
              <a:gd name="connsiteX7" fmla="*/ 2195218 w 2195218"/>
              <a:gd name="connsiteY7" fmla="*/ 735660 h 1492287"/>
              <a:gd name="connsiteX0" fmla="*/ 2195218 w 2195218"/>
              <a:gd name="connsiteY0" fmla="*/ 735660 h 1492287"/>
              <a:gd name="connsiteX1" fmla="*/ 2069785 w 2195218"/>
              <a:gd name="connsiteY1" fmla="*/ 919272 h 1492287"/>
              <a:gd name="connsiteX2" fmla="*/ 1872249 w 2195218"/>
              <a:gd name="connsiteY2" fmla="*/ 1100667 h 1492287"/>
              <a:gd name="connsiteX3" fmla="*/ 1509197 w 2195218"/>
              <a:gd name="connsiteY3" fmla="*/ 1392635 h 1492287"/>
              <a:gd name="connsiteX4" fmla="*/ 1293338 w 2195218"/>
              <a:gd name="connsiteY4" fmla="*/ 1492287 h 1492287"/>
              <a:gd name="connsiteX5" fmla="*/ 631213 w 2195218"/>
              <a:gd name="connsiteY5" fmla="*/ 760823 h 1492287"/>
              <a:gd name="connsiteX6" fmla="*/ 0 w 2195218"/>
              <a:gd name="connsiteY6" fmla="*/ 73548 h 1492287"/>
              <a:gd name="connsiteX7" fmla="*/ 871966 w 2195218"/>
              <a:gd name="connsiteY7" fmla="*/ 0 h 1492287"/>
              <a:gd name="connsiteX8" fmla="*/ 2195218 w 2195218"/>
              <a:gd name="connsiteY8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0 w 2213310"/>
              <a:gd name="connsiteY5" fmla="*/ 461842 h 1492287"/>
              <a:gd name="connsiteX6" fmla="*/ 18092 w 2213310"/>
              <a:gd name="connsiteY6" fmla="*/ 73548 h 1492287"/>
              <a:gd name="connsiteX7" fmla="*/ 890058 w 2213310"/>
              <a:gd name="connsiteY7" fmla="*/ 0 h 1492287"/>
              <a:gd name="connsiteX8" fmla="*/ 2213310 w 2213310"/>
              <a:gd name="connsiteY8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580281 w 2213310"/>
              <a:gd name="connsiteY5" fmla="*/ 912207 h 1492287"/>
              <a:gd name="connsiteX6" fmla="*/ 0 w 2213310"/>
              <a:gd name="connsiteY6" fmla="*/ 461842 h 1492287"/>
              <a:gd name="connsiteX7" fmla="*/ 18092 w 2213310"/>
              <a:gd name="connsiteY7" fmla="*/ 73548 h 1492287"/>
              <a:gd name="connsiteX8" fmla="*/ 890058 w 2213310"/>
              <a:gd name="connsiteY8" fmla="*/ 0 h 1492287"/>
              <a:gd name="connsiteX9" fmla="*/ 2213310 w 2213310"/>
              <a:gd name="connsiteY9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40345 w 2213310"/>
              <a:gd name="connsiteY5" fmla="*/ 728684 h 1492287"/>
              <a:gd name="connsiteX6" fmla="*/ 0 w 2213310"/>
              <a:gd name="connsiteY6" fmla="*/ 461842 h 1492287"/>
              <a:gd name="connsiteX7" fmla="*/ 18092 w 2213310"/>
              <a:gd name="connsiteY7" fmla="*/ 73548 h 1492287"/>
              <a:gd name="connsiteX8" fmla="*/ 890058 w 2213310"/>
              <a:gd name="connsiteY8" fmla="*/ 0 h 1492287"/>
              <a:gd name="connsiteX9" fmla="*/ 2213310 w 2213310"/>
              <a:gd name="connsiteY9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393930 w 2213310"/>
              <a:gd name="connsiteY5" fmla="*/ 943972 h 1492287"/>
              <a:gd name="connsiteX6" fmla="*/ 40345 w 2213310"/>
              <a:gd name="connsiteY6" fmla="*/ 728684 h 1492287"/>
              <a:gd name="connsiteX7" fmla="*/ 0 w 2213310"/>
              <a:gd name="connsiteY7" fmla="*/ 461842 h 1492287"/>
              <a:gd name="connsiteX8" fmla="*/ 18092 w 2213310"/>
              <a:gd name="connsiteY8" fmla="*/ 73548 h 1492287"/>
              <a:gd name="connsiteX9" fmla="*/ 890058 w 2213310"/>
              <a:gd name="connsiteY9" fmla="*/ 0 h 1492287"/>
              <a:gd name="connsiteX10" fmla="*/ 2213310 w 2213310"/>
              <a:gd name="connsiteY10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153771 w 2213310"/>
              <a:gd name="connsiteY5" fmla="*/ 952668 h 1492287"/>
              <a:gd name="connsiteX6" fmla="*/ 40345 w 2213310"/>
              <a:gd name="connsiteY6" fmla="*/ 728684 h 1492287"/>
              <a:gd name="connsiteX7" fmla="*/ 0 w 2213310"/>
              <a:gd name="connsiteY7" fmla="*/ 461842 h 1492287"/>
              <a:gd name="connsiteX8" fmla="*/ 18092 w 2213310"/>
              <a:gd name="connsiteY8" fmla="*/ 73548 h 1492287"/>
              <a:gd name="connsiteX9" fmla="*/ 890058 w 2213310"/>
              <a:gd name="connsiteY9" fmla="*/ 0 h 1492287"/>
              <a:gd name="connsiteX10" fmla="*/ 2213310 w 2213310"/>
              <a:gd name="connsiteY10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418830 w 2213310"/>
              <a:gd name="connsiteY5" fmla="*/ 1065930 h 1492287"/>
              <a:gd name="connsiteX6" fmla="*/ 153771 w 2213310"/>
              <a:gd name="connsiteY6" fmla="*/ 952668 h 1492287"/>
              <a:gd name="connsiteX7" fmla="*/ 40345 w 2213310"/>
              <a:gd name="connsiteY7" fmla="*/ 728684 h 1492287"/>
              <a:gd name="connsiteX8" fmla="*/ 0 w 2213310"/>
              <a:gd name="connsiteY8" fmla="*/ 461842 h 1492287"/>
              <a:gd name="connsiteX9" fmla="*/ 18092 w 2213310"/>
              <a:gd name="connsiteY9" fmla="*/ 73548 h 1492287"/>
              <a:gd name="connsiteX10" fmla="*/ 890058 w 2213310"/>
              <a:gd name="connsiteY10" fmla="*/ 0 h 1492287"/>
              <a:gd name="connsiteX11" fmla="*/ 2213310 w 2213310"/>
              <a:gd name="connsiteY11" fmla="*/ 735660 h 1492287"/>
              <a:gd name="connsiteX0" fmla="*/ 2213310 w 2213310"/>
              <a:gd name="connsiteY0" fmla="*/ 735660 h 1492287"/>
              <a:gd name="connsiteX1" fmla="*/ 2087877 w 2213310"/>
              <a:gd name="connsiteY1" fmla="*/ 919272 h 1492287"/>
              <a:gd name="connsiteX2" fmla="*/ 1890341 w 2213310"/>
              <a:gd name="connsiteY2" fmla="*/ 1100667 h 1492287"/>
              <a:gd name="connsiteX3" fmla="*/ 1527289 w 2213310"/>
              <a:gd name="connsiteY3" fmla="*/ 1392635 h 1492287"/>
              <a:gd name="connsiteX4" fmla="*/ 1311430 w 2213310"/>
              <a:gd name="connsiteY4" fmla="*/ 1492287 h 1492287"/>
              <a:gd name="connsiteX5" fmla="*/ 408830 w 2213310"/>
              <a:gd name="connsiteY5" fmla="*/ 1118970 h 1492287"/>
              <a:gd name="connsiteX6" fmla="*/ 153771 w 2213310"/>
              <a:gd name="connsiteY6" fmla="*/ 952668 h 1492287"/>
              <a:gd name="connsiteX7" fmla="*/ 40345 w 2213310"/>
              <a:gd name="connsiteY7" fmla="*/ 728684 h 1492287"/>
              <a:gd name="connsiteX8" fmla="*/ 0 w 2213310"/>
              <a:gd name="connsiteY8" fmla="*/ 461842 h 1492287"/>
              <a:gd name="connsiteX9" fmla="*/ 18092 w 2213310"/>
              <a:gd name="connsiteY9" fmla="*/ 73548 h 1492287"/>
              <a:gd name="connsiteX10" fmla="*/ 890058 w 2213310"/>
              <a:gd name="connsiteY10" fmla="*/ 0 h 1492287"/>
              <a:gd name="connsiteX11" fmla="*/ 2213310 w 2213310"/>
              <a:gd name="connsiteY11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499953 w 2304433"/>
              <a:gd name="connsiteY5" fmla="*/ 1118970 h 1492287"/>
              <a:gd name="connsiteX6" fmla="*/ 244894 w 2304433"/>
              <a:gd name="connsiteY6" fmla="*/ 952668 h 1492287"/>
              <a:gd name="connsiteX7" fmla="*/ 131468 w 2304433"/>
              <a:gd name="connsiteY7" fmla="*/ 728684 h 1492287"/>
              <a:gd name="connsiteX8" fmla="*/ 0 w 2304433"/>
              <a:gd name="connsiteY8" fmla="*/ 1222367 h 1492287"/>
              <a:gd name="connsiteX9" fmla="*/ 109215 w 2304433"/>
              <a:gd name="connsiteY9" fmla="*/ 73548 h 1492287"/>
              <a:gd name="connsiteX10" fmla="*/ 981181 w 2304433"/>
              <a:gd name="connsiteY10" fmla="*/ 0 h 1492287"/>
              <a:gd name="connsiteX11" fmla="*/ 2304433 w 2304433"/>
              <a:gd name="connsiteY11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499953 w 2304433"/>
              <a:gd name="connsiteY5" fmla="*/ 1118970 h 1492287"/>
              <a:gd name="connsiteX6" fmla="*/ 244894 w 2304433"/>
              <a:gd name="connsiteY6" fmla="*/ 952668 h 1492287"/>
              <a:gd name="connsiteX7" fmla="*/ 486999 w 2304433"/>
              <a:gd name="connsiteY7" fmla="*/ 1279406 h 1492287"/>
              <a:gd name="connsiteX8" fmla="*/ 0 w 2304433"/>
              <a:gd name="connsiteY8" fmla="*/ 1222367 h 1492287"/>
              <a:gd name="connsiteX9" fmla="*/ 109215 w 2304433"/>
              <a:gd name="connsiteY9" fmla="*/ 73548 h 1492287"/>
              <a:gd name="connsiteX10" fmla="*/ 981181 w 2304433"/>
              <a:gd name="connsiteY10" fmla="*/ 0 h 1492287"/>
              <a:gd name="connsiteX11" fmla="*/ 2304433 w 2304433"/>
              <a:gd name="connsiteY11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499953 w 2304433"/>
              <a:gd name="connsiteY5" fmla="*/ 1118970 h 1492287"/>
              <a:gd name="connsiteX6" fmla="*/ 653858 w 2304433"/>
              <a:gd name="connsiteY6" fmla="*/ 1270383 h 1492287"/>
              <a:gd name="connsiteX7" fmla="*/ 486999 w 2304433"/>
              <a:gd name="connsiteY7" fmla="*/ 1279406 h 1492287"/>
              <a:gd name="connsiteX8" fmla="*/ 0 w 2304433"/>
              <a:gd name="connsiteY8" fmla="*/ 1222367 h 1492287"/>
              <a:gd name="connsiteX9" fmla="*/ 109215 w 2304433"/>
              <a:gd name="connsiteY9" fmla="*/ 73548 h 1492287"/>
              <a:gd name="connsiteX10" fmla="*/ 981181 w 2304433"/>
              <a:gd name="connsiteY10" fmla="*/ 0 h 1492287"/>
              <a:gd name="connsiteX11" fmla="*/ 2304433 w 2304433"/>
              <a:gd name="connsiteY11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1125231 w 2304433"/>
              <a:gd name="connsiteY5" fmla="*/ 1192576 h 1492287"/>
              <a:gd name="connsiteX6" fmla="*/ 653858 w 2304433"/>
              <a:gd name="connsiteY6" fmla="*/ 1270383 h 1492287"/>
              <a:gd name="connsiteX7" fmla="*/ 486999 w 2304433"/>
              <a:gd name="connsiteY7" fmla="*/ 1279406 h 1492287"/>
              <a:gd name="connsiteX8" fmla="*/ 0 w 2304433"/>
              <a:gd name="connsiteY8" fmla="*/ 1222367 h 1492287"/>
              <a:gd name="connsiteX9" fmla="*/ 109215 w 2304433"/>
              <a:gd name="connsiteY9" fmla="*/ 73548 h 1492287"/>
              <a:gd name="connsiteX10" fmla="*/ 981181 w 2304433"/>
              <a:gd name="connsiteY10" fmla="*/ 0 h 1492287"/>
              <a:gd name="connsiteX11" fmla="*/ 2304433 w 2304433"/>
              <a:gd name="connsiteY11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1270047 w 2304433"/>
              <a:gd name="connsiteY5" fmla="*/ 1346838 h 1492287"/>
              <a:gd name="connsiteX6" fmla="*/ 1125231 w 2304433"/>
              <a:gd name="connsiteY6" fmla="*/ 1192576 h 1492287"/>
              <a:gd name="connsiteX7" fmla="*/ 653858 w 2304433"/>
              <a:gd name="connsiteY7" fmla="*/ 1270383 h 1492287"/>
              <a:gd name="connsiteX8" fmla="*/ 486999 w 2304433"/>
              <a:gd name="connsiteY8" fmla="*/ 1279406 h 1492287"/>
              <a:gd name="connsiteX9" fmla="*/ 0 w 2304433"/>
              <a:gd name="connsiteY9" fmla="*/ 1222367 h 1492287"/>
              <a:gd name="connsiteX10" fmla="*/ 109215 w 2304433"/>
              <a:gd name="connsiteY10" fmla="*/ 73548 h 1492287"/>
              <a:gd name="connsiteX11" fmla="*/ 981181 w 2304433"/>
              <a:gd name="connsiteY11" fmla="*/ 0 h 1492287"/>
              <a:gd name="connsiteX12" fmla="*/ 2304433 w 2304433"/>
              <a:gd name="connsiteY12" fmla="*/ 735660 h 1492287"/>
              <a:gd name="connsiteX0" fmla="*/ 2304433 w 2304433"/>
              <a:gd name="connsiteY0" fmla="*/ 735660 h 1492287"/>
              <a:gd name="connsiteX1" fmla="*/ 2179000 w 2304433"/>
              <a:gd name="connsiteY1" fmla="*/ 919272 h 1492287"/>
              <a:gd name="connsiteX2" fmla="*/ 1981464 w 2304433"/>
              <a:gd name="connsiteY2" fmla="*/ 1100667 h 1492287"/>
              <a:gd name="connsiteX3" fmla="*/ 1618412 w 2304433"/>
              <a:gd name="connsiteY3" fmla="*/ 1392635 h 1492287"/>
              <a:gd name="connsiteX4" fmla="*/ 1402553 w 2304433"/>
              <a:gd name="connsiteY4" fmla="*/ 1492287 h 1492287"/>
              <a:gd name="connsiteX5" fmla="*/ 1386570 w 2304433"/>
              <a:gd name="connsiteY5" fmla="*/ 1400166 h 1492287"/>
              <a:gd name="connsiteX6" fmla="*/ 1125231 w 2304433"/>
              <a:gd name="connsiteY6" fmla="*/ 1192576 h 1492287"/>
              <a:gd name="connsiteX7" fmla="*/ 653858 w 2304433"/>
              <a:gd name="connsiteY7" fmla="*/ 1270383 h 1492287"/>
              <a:gd name="connsiteX8" fmla="*/ 486999 w 2304433"/>
              <a:gd name="connsiteY8" fmla="*/ 1279406 h 1492287"/>
              <a:gd name="connsiteX9" fmla="*/ 0 w 2304433"/>
              <a:gd name="connsiteY9" fmla="*/ 1222367 h 1492287"/>
              <a:gd name="connsiteX10" fmla="*/ 109215 w 2304433"/>
              <a:gd name="connsiteY10" fmla="*/ 73548 h 1492287"/>
              <a:gd name="connsiteX11" fmla="*/ 981181 w 2304433"/>
              <a:gd name="connsiteY11" fmla="*/ 0 h 1492287"/>
              <a:gd name="connsiteX12" fmla="*/ 2304433 w 2304433"/>
              <a:gd name="connsiteY12" fmla="*/ 735660 h 1492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304433" h="1492287">
                <a:moveTo>
                  <a:pt x="2304433" y="735660"/>
                </a:moveTo>
                <a:lnTo>
                  <a:pt x="2179000" y="919272"/>
                </a:lnTo>
                <a:lnTo>
                  <a:pt x="1981464" y="1100667"/>
                </a:lnTo>
                <a:lnTo>
                  <a:pt x="1618412" y="1392635"/>
                </a:lnTo>
                <a:lnTo>
                  <a:pt x="1402553" y="1492287"/>
                </a:lnTo>
                <a:lnTo>
                  <a:pt x="1386570" y="1400166"/>
                </a:lnTo>
                <a:lnTo>
                  <a:pt x="1125231" y="1192576"/>
                </a:lnTo>
                <a:lnTo>
                  <a:pt x="653858" y="1270383"/>
                </a:lnTo>
                <a:lnTo>
                  <a:pt x="486999" y="1279406"/>
                </a:lnTo>
                <a:lnTo>
                  <a:pt x="0" y="1222367"/>
                </a:lnTo>
                <a:lnTo>
                  <a:pt x="109215" y="73548"/>
                </a:lnTo>
                <a:lnTo>
                  <a:pt x="981181" y="0"/>
                </a:lnTo>
                <a:lnTo>
                  <a:pt x="2304433" y="735660"/>
                </a:lnTo>
                <a:close/>
              </a:path>
            </a:pathLst>
          </a:custGeom>
          <a:solidFill>
            <a:srgbClr val="66B1B1">
              <a:alpha val="50196"/>
            </a:srgbClr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C6B589D3-D536-4B73-AC2B-61755E3876C6}"/>
              </a:ext>
            </a:extLst>
          </p:cNvPr>
          <p:cNvCxnSpPr>
            <a:cxnSpLocks/>
          </p:cNvCxnSpPr>
          <p:nvPr/>
        </p:nvCxnSpPr>
        <p:spPr>
          <a:xfrm flipH="1" flipV="1">
            <a:off x="6402918" y="787400"/>
            <a:ext cx="6351" cy="393701"/>
          </a:xfrm>
          <a:prstGeom prst="line">
            <a:avLst/>
          </a:prstGeom>
          <a:ln w="12700">
            <a:solidFill>
              <a:srgbClr val="C0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3" name="Rectangle 252">
            <a:extLst>
              <a:ext uri="{FF2B5EF4-FFF2-40B4-BE49-F238E27FC236}">
                <a16:creationId xmlns:a16="http://schemas.microsoft.com/office/drawing/2014/main" id="{0EB5926E-DEA4-4298-A92F-94099AC100C6}"/>
              </a:ext>
            </a:extLst>
          </p:cNvPr>
          <p:cNvSpPr/>
          <p:nvPr/>
        </p:nvSpPr>
        <p:spPr>
          <a:xfrm>
            <a:off x="9947275" y="101600"/>
            <a:ext cx="2138892" cy="112902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258" name="Rectangle 257">
            <a:extLst>
              <a:ext uri="{FF2B5EF4-FFF2-40B4-BE49-F238E27FC236}">
                <a16:creationId xmlns:a16="http://schemas.microsoft.com/office/drawing/2014/main" id="{D5D8911A-2093-46C3-BAA1-CDB3887D04D2}"/>
              </a:ext>
            </a:extLst>
          </p:cNvPr>
          <p:cNvSpPr/>
          <p:nvPr/>
        </p:nvSpPr>
        <p:spPr>
          <a:xfrm>
            <a:off x="10037869" y="201245"/>
            <a:ext cx="353835" cy="108873"/>
          </a:xfrm>
          <a:prstGeom prst="rect">
            <a:avLst/>
          </a:prstGeom>
          <a:solidFill>
            <a:srgbClr val="9A66CD"/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59" name="TextBox 258">
            <a:extLst>
              <a:ext uri="{FF2B5EF4-FFF2-40B4-BE49-F238E27FC236}">
                <a16:creationId xmlns:a16="http://schemas.microsoft.com/office/drawing/2014/main" id="{2CA16D5D-7C0A-4CF6-A465-26332D4DBA6F}"/>
              </a:ext>
            </a:extLst>
          </p:cNvPr>
          <p:cNvSpPr txBox="1"/>
          <p:nvPr/>
        </p:nvSpPr>
        <p:spPr>
          <a:xfrm>
            <a:off x="10346671" y="104200"/>
            <a:ext cx="1677439" cy="10776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Næringsbebyggelse</a:t>
            </a:r>
          </a:p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Havn og havneområde</a:t>
            </a:r>
          </a:p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Blågrønnstruktur</a:t>
            </a:r>
          </a:p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LNFR-areal</a:t>
            </a:r>
          </a:p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Rør</a:t>
            </a:r>
          </a:p>
          <a:p>
            <a:r>
              <a:rPr lang="nb-NO" sz="1067" dirty="0">
                <a:latin typeface="Arial" panose="020B0604020202020204" pitchFamily="34" charset="0"/>
                <a:cs typeface="Arial" panose="020B0604020202020204" pitchFamily="34" charset="0"/>
              </a:rPr>
              <a:t>Fjerning av masse</a:t>
            </a:r>
            <a:endParaRPr lang="en-GB" sz="10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2" name="Rectangle 261">
            <a:extLst>
              <a:ext uri="{FF2B5EF4-FFF2-40B4-BE49-F238E27FC236}">
                <a16:creationId xmlns:a16="http://schemas.microsoft.com/office/drawing/2014/main" id="{EED9A296-B02D-43EE-9340-F9AEC0753EC0}"/>
              </a:ext>
            </a:extLst>
          </p:cNvPr>
          <p:cNvSpPr/>
          <p:nvPr/>
        </p:nvSpPr>
        <p:spPr>
          <a:xfrm>
            <a:off x="10037869" y="363788"/>
            <a:ext cx="353835" cy="108873"/>
          </a:xfrm>
          <a:prstGeom prst="rect">
            <a:avLst/>
          </a:prstGeom>
          <a:solidFill>
            <a:srgbClr val="66B4B4"/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A8FA022E-D79C-4795-9863-1FEEEE50CCF1}"/>
              </a:ext>
            </a:extLst>
          </p:cNvPr>
          <p:cNvSpPr/>
          <p:nvPr/>
        </p:nvSpPr>
        <p:spPr>
          <a:xfrm>
            <a:off x="10037869" y="526330"/>
            <a:ext cx="353835" cy="108873"/>
          </a:xfrm>
          <a:prstGeom prst="rect">
            <a:avLst/>
          </a:prstGeom>
          <a:solidFill>
            <a:srgbClr val="00CC99"/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428B3EE6-549D-4D7C-9C1D-80DDFD866BE2}"/>
              </a:ext>
            </a:extLst>
          </p:cNvPr>
          <p:cNvSpPr/>
          <p:nvPr/>
        </p:nvSpPr>
        <p:spPr>
          <a:xfrm>
            <a:off x="10037869" y="688873"/>
            <a:ext cx="353835" cy="108873"/>
          </a:xfrm>
          <a:prstGeom prst="rect">
            <a:avLst/>
          </a:prstGeom>
          <a:solidFill>
            <a:srgbClr val="CCFF99"/>
          </a:solidFill>
          <a:ln w="9525">
            <a:solidFill>
              <a:schemeClr val="accent4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F508E0F7-739F-4BE9-91ED-F702CC68F764}"/>
              </a:ext>
            </a:extLst>
          </p:cNvPr>
          <p:cNvSpPr/>
          <p:nvPr/>
        </p:nvSpPr>
        <p:spPr>
          <a:xfrm>
            <a:off x="10037869" y="1013956"/>
            <a:ext cx="353835" cy="108873"/>
          </a:xfrm>
          <a:prstGeom prst="rect">
            <a:avLst/>
          </a:prstGeom>
          <a:pattFill prst="wdUpDiag">
            <a:fgClr>
              <a:schemeClr val="tx1"/>
            </a:fgClr>
            <a:bgClr>
              <a:schemeClr val="bg1"/>
            </a:bgClr>
          </a:pattFill>
          <a:ln w="9525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F081058A-FEE7-4EC2-BE83-82507D35788B}"/>
              </a:ext>
            </a:extLst>
          </p:cNvPr>
          <p:cNvCxnSpPr>
            <a:cxnSpLocks/>
          </p:cNvCxnSpPr>
          <p:nvPr/>
        </p:nvCxnSpPr>
        <p:spPr>
          <a:xfrm>
            <a:off x="10037869" y="905852"/>
            <a:ext cx="353835" cy="0"/>
          </a:xfrm>
          <a:prstGeom prst="line">
            <a:avLst/>
          </a:prstGeom>
          <a:ln w="1270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E86771F2-F482-4F0A-AAF7-B845FAA8F051}"/>
              </a:ext>
            </a:extLst>
          </p:cNvPr>
          <p:cNvGrpSpPr/>
          <p:nvPr/>
        </p:nvGrpSpPr>
        <p:grpSpPr>
          <a:xfrm>
            <a:off x="431370" y="2348960"/>
            <a:ext cx="5198673" cy="1200000"/>
            <a:chOff x="323527" y="1761720"/>
            <a:chExt cx="3899005" cy="900000"/>
          </a:xfrm>
        </p:grpSpPr>
        <p:sp>
          <p:nvSpPr>
            <p:cNvPr id="326" name="Rectangle 325">
              <a:extLst>
                <a:ext uri="{FF2B5EF4-FFF2-40B4-BE49-F238E27FC236}">
                  <a16:creationId xmlns:a16="http://schemas.microsoft.com/office/drawing/2014/main" id="{51299D3E-8C70-4D9D-AB8C-2494AB4F7F28}"/>
                </a:ext>
              </a:extLst>
            </p:cNvPr>
            <p:cNvSpPr/>
            <p:nvPr/>
          </p:nvSpPr>
          <p:spPr>
            <a:xfrm>
              <a:off x="1415001" y="1761720"/>
              <a:ext cx="2807531" cy="90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spcBef>
                  <a:spcPts val="133"/>
                </a:spcBef>
                <a:spcAft>
                  <a:spcPts val="133"/>
                </a:spcAft>
              </a:pPr>
              <a:r>
                <a:rPr lang="nb-NO" sz="1200" b="1" dirty="0">
                  <a:solidFill>
                    <a:srgbClr val="182027"/>
                  </a:solidFill>
                </a:rPr>
                <a:t>      Areal klargjort for produksjon og frakt av NH</a:t>
              </a:r>
              <a:r>
                <a:rPr lang="nb-NO" sz="1200" b="1" baseline="-25000" dirty="0">
                  <a:solidFill>
                    <a:srgbClr val="182027"/>
                  </a:solidFill>
                </a:rPr>
                <a:t>3</a:t>
              </a:r>
              <a:endParaRPr lang="nb-NO" sz="1200" b="1" baseline="-25000" dirty="0"/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Planering av areal og frakt av masse til havneområde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Ny kaifront og bakareal via mudring og massetransport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Indeling av nytt havneområde til a) frakt av ammoniakk, b) fiskeri, og c) leverandørindustri</a:t>
              </a:r>
            </a:p>
          </p:txBody>
        </p:sp>
        <p:sp>
          <p:nvSpPr>
            <p:cNvPr id="327" name="Rectangle 326">
              <a:extLst>
                <a:ext uri="{FF2B5EF4-FFF2-40B4-BE49-F238E27FC236}">
                  <a16:creationId xmlns:a16="http://schemas.microsoft.com/office/drawing/2014/main" id="{1D861B70-1653-4E7A-A656-99AA90B013CE}"/>
                </a:ext>
              </a:extLst>
            </p:cNvPr>
            <p:cNvSpPr/>
            <p:nvPr/>
          </p:nvSpPr>
          <p:spPr>
            <a:xfrm>
              <a:off x="323527" y="1761720"/>
              <a:ext cx="1116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14400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br>
                <a:rPr lang="nb-NO" sz="1200" b="1" dirty="0">
                  <a:solidFill>
                    <a:prstClr val="white"/>
                  </a:solidFill>
                </a:rPr>
              </a:br>
              <a:r>
                <a:rPr lang="nb-NO" sz="1200" b="1" dirty="0">
                  <a:solidFill>
                    <a:prstClr val="white"/>
                  </a:solidFill>
                </a:rPr>
                <a:t>Utvikling av fabrikkareal og havneområde</a:t>
              </a:r>
              <a:endParaRPr lang="nb-NO" sz="1200" b="1" dirty="0"/>
            </a:p>
          </p:txBody>
        </p: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D2789035-2AA5-4441-8563-F87BE0ABF153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81527" y="1372169"/>
              <a:ext cx="0" cy="104400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9" name="Oval 328">
              <a:extLst>
                <a:ext uri="{FF2B5EF4-FFF2-40B4-BE49-F238E27FC236}">
                  <a16:creationId xmlns:a16="http://schemas.microsoft.com/office/drawing/2014/main" id="{578CCC10-435F-4780-B7F8-ED20898773D1}"/>
                </a:ext>
              </a:extLst>
            </p:cNvPr>
            <p:cNvSpPr/>
            <p:nvPr/>
          </p:nvSpPr>
          <p:spPr>
            <a:xfrm>
              <a:off x="795800" y="1808442"/>
              <a:ext cx="171456" cy="17145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2</a:t>
              </a:r>
            </a:p>
          </p:txBody>
        </p: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950434BB-A279-4DC6-8764-964C7288448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1062" y="1894168"/>
              <a:ext cx="106965" cy="1"/>
            </a:xfrm>
            <a:prstGeom prst="line">
              <a:avLst/>
            </a:prstGeom>
            <a:ln w="12700" cmpd="sng">
              <a:solidFill>
                <a:schemeClr val="accent4"/>
              </a:solidFill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B21775B5-096C-442B-BF13-0C4752E80BBE}"/>
              </a:ext>
            </a:extLst>
          </p:cNvPr>
          <p:cNvGrpSpPr/>
          <p:nvPr/>
        </p:nvGrpSpPr>
        <p:grpSpPr>
          <a:xfrm>
            <a:off x="431370" y="3381048"/>
            <a:ext cx="5198673" cy="1200000"/>
            <a:chOff x="323527" y="2535786"/>
            <a:chExt cx="3899005" cy="900000"/>
          </a:xfrm>
        </p:grpSpPr>
        <p:sp>
          <p:nvSpPr>
            <p:cNvPr id="332" name="Rectangle 331">
              <a:extLst>
                <a:ext uri="{FF2B5EF4-FFF2-40B4-BE49-F238E27FC236}">
                  <a16:creationId xmlns:a16="http://schemas.microsoft.com/office/drawing/2014/main" id="{4AE7611E-3BA7-49F3-946C-A7AD3BBE2F1B}"/>
                </a:ext>
              </a:extLst>
            </p:cNvPr>
            <p:cNvSpPr/>
            <p:nvPr/>
          </p:nvSpPr>
          <p:spPr>
            <a:xfrm>
              <a:off x="1415001" y="2535786"/>
              <a:ext cx="2807531" cy="90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spcBef>
                  <a:spcPts val="133"/>
                </a:spcBef>
                <a:spcAft>
                  <a:spcPts val="133"/>
                </a:spcAft>
              </a:pPr>
              <a:r>
                <a:rPr lang="nb-NO" sz="1200" b="1" dirty="0">
                  <a:solidFill>
                    <a:srgbClr val="182027"/>
                  </a:solidFill>
                </a:rPr>
                <a:t>      Produksjon og eksport av NH</a:t>
              </a:r>
              <a:r>
                <a:rPr lang="nb-NO" sz="1200" b="1" baseline="-25000" dirty="0">
                  <a:solidFill>
                    <a:srgbClr val="182027"/>
                  </a:solidFill>
                </a:rPr>
                <a:t>3</a:t>
              </a:r>
              <a:endParaRPr lang="nb-NO" sz="1200" b="1" dirty="0">
                <a:solidFill>
                  <a:srgbClr val="182027"/>
                </a:solidFill>
              </a:endParaRP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Utbygging av fabrikk, inkl. lager og rør til havn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140 arbeidsplasser + ringvirkninger som kompetansehub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Tilrettelegge for overføring av varme og O</a:t>
              </a:r>
              <a:r>
                <a:rPr lang="nb-NO" sz="1067" cap="small" baseline="-25000" dirty="0"/>
                <a:t>2, </a:t>
              </a:r>
              <a:r>
                <a:rPr lang="nb-NO" sz="1067" dirty="0"/>
                <a:t>inkl. fjernvarmeanlegg for hele havne- og industriområdet</a:t>
              </a:r>
              <a:r>
                <a:rPr lang="nb-NO" sz="1067" cap="small" baseline="-25000" dirty="0"/>
                <a:t> </a:t>
              </a:r>
            </a:p>
          </p:txBody>
        </p:sp>
        <p:sp>
          <p:nvSpPr>
            <p:cNvPr id="333" name="Rectangle 332">
              <a:extLst>
                <a:ext uri="{FF2B5EF4-FFF2-40B4-BE49-F238E27FC236}">
                  <a16:creationId xmlns:a16="http://schemas.microsoft.com/office/drawing/2014/main" id="{CE7C3EA9-D2EE-437A-8C67-680577C9A3A7}"/>
                </a:ext>
              </a:extLst>
            </p:cNvPr>
            <p:cNvSpPr/>
            <p:nvPr/>
          </p:nvSpPr>
          <p:spPr>
            <a:xfrm>
              <a:off x="323527" y="2535786"/>
              <a:ext cx="1116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14400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nb-NO" sz="1133" b="1" dirty="0">
                  <a:solidFill>
                    <a:prstClr val="white"/>
                  </a:solidFill>
                </a:rPr>
                <a:t>3</a:t>
              </a:r>
              <a:br>
                <a:rPr lang="nb-NO" sz="1133" b="1" dirty="0">
                  <a:solidFill>
                    <a:prstClr val="white"/>
                  </a:solidFill>
                </a:rPr>
              </a:br>
              <a:r>
                <a:rPr lang="nb-NO" sz="1200" b="1" dirty="0">
                  <a:solidFill>
                    <a:prstClr val="white"/>
                  </a:solidFill>
                </a:rPr>
                <a:t>Grønn ammoniakk, med sirkulær tilrettelegging</a:t>
              </a:r>
              <a:endParaRPr lang="nb-NO" sz="1133" b="1" dirty="0">
                <a:solidFill>
                  <a:prstClr val="white"/>
                </a:solidFill>
              </a:endParaRPr>
            </a:p>
          </p:txBody>
        </p: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1900A6FB-B8E0-4FAB-86EF-7D95E47483EB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81527" y="2146235"/>
              <a:ext cx="0" cy="104400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5" name="Oval 334">
              <a:extLst>
                <a:ext uri="{FF2B5EF4-FFF2-40B4-BE49-F238E27FC236}">
                  <a16:creationId xmlns:a16="http://schemas.microsoft.com/office/drawing/2014/main" id="{AC17BDD3-85F3-4396-B37F-11545FCB2FAE}"/>
                </a:ext>
              </a:extLst>
            </p:cNvPr>
            <p:cNvSpPr/>
            <p:nvPr/>
          </p:nvSpPr>
          <p:spPr>
            <a:xfrm>
              <a:off x="795800" y="2582508"/>
              <a:ext cx="171456" cy="17145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3</a:t>
              </a:r>
            </a:p>
          </p:txBody>
        </p:sp>
        <p:cxnSp>
          <p:nvCxnSpPr>
            <p:cNvPr id="336" name="Straight Connector 335">
              <a:extLst>
                <a:ext uri="{FF2B5EF4-FFF2-40B4-BE49-F238E27FC236}">
                  <a16:creationId xmlns:a16="http://schemas.microsoft.com/office/drawing/2014/main" id="{9877BAE0-C416-4302-9E9B-449C5365B52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1062" y="2668234"/>
              <a:ext cx="106965" cy="1"/>
            </a:xfrm>
            <a:prstGeom prst="line">
              <a:avLst/>
            </a:prstGeom>
            <a:ln w="12700" cmpd="sng">
              <a:solidFill>
                <a:schemeClr val="accent4"/>
              </a:solidFill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37" name="Group 336">
            <a:extLst>
              <a:ext uri="{FF2B5EF4-FFF2-40B4-BE49-F238E27FC236}">
                <a16:creationId xmlns:a16="http://schemas.microsoft.com/office/drawing/2014/main" id="{7FE54D1F-B797-4711-9AF6-3E90524F269A}"/>
              </a:ext>
            </a:extLst>
          </p:cNvPr>
          <p:cNvGrpSpPr/>
          <p:nvPr/>
        </p:nvGrpSpPr>
        <p:grpSpPr>
          <a:xfrm>
            <a:off x="431370" y="4413136"/>
            <a:ext cx="5198673" cy="1200000"/>
            <a:chOff x="323527" y="3309852"/>
            <a:chExt cx="3899005" cy="900000"/>
          </a:xfrm>
        </p:grpSpPr>
        <p:sp>
          <p:nvSpPr>
            <p:cNvPr id="338" name="Rectangle 337">
              <a:extLst>
                <a:ext uri="{FF2B5EF4-FFF2-40B4-BE49-F238E27FC236}">
                  <a16:creationId xmlns:a16="http://schemas.microsoft.com/office/drawing/2014/main" id="{016C8999-7047-4605-B9FC-C4FB7C430850}"/>
                </a:ext>
              </a:extLst>
            </p:cNvPr>
            <p:cNvSpPr/>
            <p:nvPr/>
          </p:nvSpPr>
          <p:spPr>
            <a:xfrm>
              <a:off x="1415001" y="3309852"/>
              <a:ext cx="2807531" cy="90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241294" indent="-241294">
                <a:spcBef>
                  <a:spcPts val="133"/>
                </a:spcBef>
                <a:spcAft>
                  <a:spcPts val="133"/>
                </a:spcAft>
              </a:pPr>
              <a:r>
                <a:rPr lang="nb-NO" sz="1200" b="1" dirty="0">
                  <a:solidFill>
                    <a:srgbClr val="182027"/>
                  </a:solidFill>
                </a:rPr>
                <a:t>      Produksjon og eksport fra RAS og drivhus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Utbygging av RAS-anlegg for landbasert havbruk tilknyttet ferskvannskilde, sjøvann, fjernvarme og oksygen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Etablering av veksthus for grønnsaksproduksjon og fôr, basert på næringsstoffer fra akvaltur og fjernvarme</a:t>
              </a:r>
            </a:p>
          </p:txBody>
        </p:sp>
        <p:sp>
          <p:nvSpPr>
            <p:cNvPr id="339" name="Rectangle 338">
              <a:extLst>
                <a:ext uri="{FF2B5EF4-FFF2-40B4-BE49-F238E27FC236}">
                  <a16:creationId xmlns:a16="http://schemas.microsoft.com/office/drawing/2014/main" id="{A31DFC7D-9089-4684-AA46-55D236CB948A}"/>
                </a:ext>
              </a:extLst>
            </p:cNvPr>
            <p:cNvSpPr/>
            <p:nvPr/>
          </p:nvSpPr>
          <p:spPr>
            <a:xfrm>
              <a:off x="323527" y="3309852"/>
              <a:ext cx="1116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14400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nb-NO" sz="1133" b="1" dirty="0">
                  <a:solidFill>
                    <a:prstClr val="white"/>
                  </a:solidFill>
                </a:rPr>
                <a:t>4</a:t>
              </a:r>
              <a:br>
                <a:rPr lang="nb-NO" sz="1133" b="1" dirty="0">
                  <a:solidFill>
                    <a:prstClr val="white"/>
                  </a:solidFill>
                </a:rPr>
              </a:br>
              <a:r>
                <a:rPr lang="nb-NO" sz="1200" b="1" dirty="0">
                  <a:solidFill>
                    <a:prstClr val="white"/>
                  </a:solidFill>
                </a:rPr>
                <a:t>Fremtidens matproduksjon</a:t>
              </a:r>
              <a:endParaRPr lang="nb-NO" sz="1133" b="1" dirty="0">
                <a:solidFill>
                  <a:prstClr val="white"/>
                </a:solidFill>
              </a:endParaRPr>
            </a:p>
          </p:txBody>
        </p:sp>
        <p:cxnSp>
          <p:nvCxnSpPr>
            <p:cNvPr id="340" name="Straight Connector 339">
              <a:extLst>
                <a:ext uri="{FF2B5EF4-FFF2-40B4-BE49-F238E27FC236}">
                  <a16:creationId xmlns:a16="http://schemas.microsoft.com/office/drawing/2014/main" id="{FDE54717-8C82-4CA2-A36C-6662162609B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81527" y="2920301"/>
              <a:ext cx="0" cy="104400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1" name="Oval 340">
              <a:extLst>
                <a:ext uri="{FF2B5EF4-FFF2-40B4-BE49-F238E27FC236}">
                  <a16:creationId xmlns:a16="http://schemas.microsoft.com/office/drawing/2014/main" id="{96F3FA9C-2C0F-4C75-A0BE-92DA2D327135}"/>
                </a:ext>
              </a:extLst>
            </p:cNvPr>
            <p:cNvSpPr/>
            <p:nvPr/>
          </p:nvSpPr>
          <p:spPr>
            <a:xfrm>
              <a:off x="795800" y="3356574"/>
              <a:ext cx="171456" cy="17145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4</a:t>
              </a:r>
            </a:p>
          </p:txBody>
        </p:sp>
        <p:cxnSp>
          <p:nvCxnSpPr>
            <p:cNvPr id="342" name="Straight Connector 341">
              <a:extLst>
                <a:ext uri="{FF2B5EF4-FFF2-40B4-BE49-F238E27FC236}">
                  <a16:creationId xmlns:a16="http://schemas.microsoft.com/office/drawing/2014/main" id="{6953470B-67ED-4763-B02A-E499D6029915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1062" y="3442300"/>
              <a:ext cx="106965" cy="1"/>
            </a:xfrm>
            <a:prstGeom prst="line">
              <a:avLst/>
            </a:prstGeom>
            <a:ln w="12700" cmpd="sng">
              <a:solidFill>
                <a:schemeClr val="accent4"/>
              </a:solidFill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3" name="Group 342">
            <a:extLst>
              <a:ext uri="{FF2B5EF4-FFF2-40B4-BE49-F238E27FC236}">
                <a16:creationId xmlns:a16="http://schemas.microsoft.com/office/drawing/2014/main" id="{7DA267BA-2B5B-4388-8B2A-B0B303A030A4}"/>
              </a:ext>
            </a:extLst>
          </p:cNvPr>
          <p:cNvGrpSpPr/>
          <p:nvPr/>
        </p:nvGrpSpPr>
        <p:grpSpPr>
          <a:xfrm>
            <a:off x="431370" y="5445224"/>
            <a:ext cx="5198673" cy="1200000"/>
            <a:chOff x="323527" y="4083918"/>
            <a:chExt cx="3899005" cy="900000"/>
          </a:xfrm>
        </p:grpSpPr>
        <p:sp>
          <p:nvSpPr>
            <p:cNvPr id="344" name="Rectangle 343">
              <a:extLst>
                <a:ext uri="{FF2B5EF4-FFF2-40B4-BE49-F238E27FC236}">
                  <a16:creationId xmlns:a16="http://schemas.microsoft.com/office/drawing/2014/main" id="{1F51C29A-EB8C-4EEE-BEDE-D14A63D21889}"/>
                </a:ext>
              </a:extLst>
            </p:cNvPr>
            <p:cNvSpPr/>
            <p:nvPr/>
          </p:nvSpPr>
          <p:spPr>
            <a:xfrm>
              <a:off x="1415001" y="4083918"/>
              <a:ext cx="2807531" cy="90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>
                <a:spcBef>
                  <a:spcPts val="133"/>
                </a:spcBef>
                <a:spcAft>
                  <a:spcPts val="133"/>
                </a:spcAft>
              </a:pPr>
              <a:r>
                <a:rPr lang="nb-NO" sz="1200" b="1" dirty="0">
                  <a:solidFill>
                    <a:srgbClr val="182027"/>
                  </a:solidFill>
                </a:rPr>
                <a:t>      </a:t>
              </a:r>
              <a:r>
                <a:rPr lang="da-DK" sz="1200" b="1" dirty="0">
                  <a:solidFill>
                    <a:srgbClr val="182027"/>
                  </a:solidFill>
                </a:rPr>
                <a:t>Potensialet fra NH</a:t>
              </a:r>
              <a:r>
                <a:rPr lang="da-DK" sz="1200" b="1" baseline="-25000" dirty="0">
                  <a:solidFill>
                    <a:srgbClr val="182027"/>
                  </a:solidFill>
                </a:rPr>
                <a:t>3 </a:t>
              </a:r>
              <a:r>
                <a:rPr lang="da-DK" sz="1200" b="1" dirty="0">
                  <a:solidFill>
                    <a:srgbClr val="182027"/>
                  </a:solidFill>
                </a:rPr>
                <a:t>fullt utnyttet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Mulighet for videre arealutvidelse for RAS og NH</a:t>
              </a:r>
              <a:r>
                <a:rPr lang="nb-NO" sz="1067" baseline="-25000" dirty="0"/>
                <a:t>3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Utvidelse av fjernvarmenett til næringsbygg i Berlevåg 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Etablering av et high-end spahotell; hvor «varme og luksus» møter «hav og storm» – uten syn av fabrikk</a:t>
              </a:r>
            </a:p>
          </p:txBody>
        </p:sp>
        <p:sp>
          <p:nvSpPr>
            <p:cNvPr id="345" name="Rectangle 344">
              <a:extLst>
                <a:ext uri="{FF2B5EF4-FFF2-40B4-BE49-F238E27FC236}">
                  <a16:creationId xmlns:a16="http://schemas.microsoft.com/office/drawing/2014/main" id="{0A66491D-171B-409C-867F-E7E149905171}"/>
                </a:ext>
              </a:extLst>
            </p:cNvPr>
            <p:cNvSpPr/>
            <p:nvPr/>
          </p:nvSpPr>
          <p:spPr>
            <a:xfrm>
              <a:off x="323527" y="4083918"/>
              <a:ext cx="1116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14400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nb-NO" sz="1200" b="1" dirty="0">
                  <a:solidFill>
                    <a:prstClr val="white"/>
                  </a:solidFill>
                </a:rPr>
                <a:t> </a:t>
              </a:r>
              <a:br>
                <a:rPr lang="nb-NO" sz="1200" b="1" dirty="0">
                  <a:solidFill>
                    <a:prstClr val="white"/>
                  </a:solidFill>
                </a:rPr>
              </a:br>
              <a:r>
                <a:rPr lang="nb-NO" sz="1200" b="1" dirty="0">
                  <a:solidFill>
                    <a:prstClr val="white"/>
                  </a:solidFill>
                </a:rPr>
                <a:t>Utvidelse av BIP og utnyttelse av biproduksjon</a:t>
              </a:r>
              <a:endParaRPr lang="nb-NO" sz="1133" b="1" dirty="0">
                <a:solidFill>
                  <a:prstClr val="white"/>
                </a:solidFill>
              </a:endParaRPr>
            </a:p>
          </p:txBody>
        </p:sp>
        <p:cxnSp>
          <p:nvCxnSpPr>
            <p:cNvPr id="346" name="Straight Connector 345">
              <a:extLst>
                <a:ext uri="{FF2B5EF4-FFF2-40B4-BE49-F238E27FC236}">
                  <a16:creationId xmlns:a16="http://schemas.microsoft.com/office/drawing/2014/main" id="{C18F984F-2485-49B1-AC6A-235D11D65F14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81527" y="3694367"/>
              <a:ext cx="0" cy="104400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7" name="Straight Connector 346">
              <a:extLst>
                <a:ext uri="{FF2B5EF4-FFF2-40B4-BE49-F238E27FC236}">
                  <a16:creationId xmlns:a16="http://schemas.microsoft.com/office/drawing/2014/main" id="{CD48525C-1878-4B47-ADD7-04510815DC7C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1062" y="4216366"/>
              <a:ext cx="106965" cy="1"/>
            </a:xfrm>
            <a:prstGeom prst="line">
              <a:avLst/>
            </a:prstGeom>
            <a:ln w="12700" cmpd="sng">
              <a:solidFill>
                <a:schemeClr val="accent4"/>
              </a:solidFill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48" name="Oval 347">
              <a:extLst>
                <a:ext uri="{FF2B5EF4-FFF2-40B4-BE49-F238E27FC236}">
                  <a16:creationId xmlns:a16="http://schemas.microsoft.com/office/drawing/2014/main" id="{3A5A56D5-8591-49E2-B3E6-19168AFC9907}"/>
                </a:ext>
              </a:extLst>
            </p:cNvPr>
            <p:cNvSpPr/>
            <p:nvPr/>
          </p:nvSpPr>
          <p:spPr>
            <a:xfrm>
              <a:off x="795800" y="4130640"/>
              <a:ext cx="171456" cy="17145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5</a:t>
              </a:r>
            </a:p>
          </p:txBody>
        </p:sp>
      </p:grpSp>
      <p:grpSp>
        <p:nvGrpSpPr>
          <p:cNvPr id="349" name="Group 348">
            <a:extLst>
              <a:ext uri="{FF2B5EF4-FFF2-40B4-BE49-F238E27FC236}">
                <a16:creationId xmlns:a16="http://schemas.microsoft.com/office/drawing/2014/main" id="{ACF26061-9E9B-4922-ABFE-FD134E6040BF}"/>
              </a:ext>
            </a:extLst>
          </p:cNvPr>
          <p:cNvGrpSpPr/>
          <p:nvPr/>
        </p:nvGrpSpPr>
        <p:grpSpPr>
          <a:xfrm>
            <a:off x="431370" y="1310168"/>
            <a:ext cx="5198673" cy="1200000"/>
            <a:chOff x="323527" y="987654"/>
            <a:chExt cx="3899005" cy="900000"/>
          </a:xfrm>
        </p:grpSpPr>
        <p:sp>
          <p:nvSpPr>
            <p:cNvPr id="350" name="Rectangle 349">
              <a:extLst>
                <a:ext uri="{FF2B5EF4-FFF2-40B4-BE49-F238E27FC236}">
                  <a16:creationId xmlns:a16="http://schemas.microsoft.com/office/drawing/2014/main" id="{767886CA-A4EC-4B14-A94D-C318AA11355E}"/>
                </a:ext>
              </a:extLst>
            </p:cNvPr>
            <p:cNvSpPr/>
            <p:nvPr/>
          </p:nvSpPr>
          <p:spPr>
            <a:xfrm>
              <a:off x="1415001" y="987654"/>
              <a:ext cx="2807531" cy="900000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241294" indent="-241294">
                <a:spcBef>
                  <a:spcPts val="133"/>
                </a:spcBef>
                <a:spcAft>
                  <a:spcPts val="133"/>
                </a:spcAft>
              </a:pPr>
              <a:r>
                <a:rPr lang="nb-NO" sz="1200" b="1" dirty="0">
                  <a:solidFill>
                    <a:srgbClr val="182027"/>
                  </a:solidFill>
                </a:rPr>
                <a:t>      Fremtidens sirkulære næringspark skissert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Etablere Berlevåg Industripark, og markedsføre BIP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Tilknytte eiere, partnere og sikre rettigheter med FEFO</a:t>
              </a:r>
            </a:p>
            <a:p>
              <a:pPr marL="239178" indent="-239178">
                <a:spcAft>
                  <a:spcPts val="133"/>
                </a:spcAft>
                <a:buFont typeface="Arial" panose="020B0604020202020204" pitchFamily="34" charset="0"/>
                <a:buChar char="•"/>
              </a:pPr>
              <a:r>
                <a:rPr lang="nb-NO" sz="1067" dirty="0"/>
                <a:t>Sikre og gjennomføre nødvendig vedtak og reguleringer</a:t>
              </a:r>
            </a:p>
          </p:txBody>
        </p:sp>
        <p:sp>
          <p:nvSpPr>
            <p:cNvPr id="351" name="Rectangle 350">
              <a:extLst>
                <a:ext uri="{FF2B5EF4-FFF2-40B4-BE49-F238E27FC236}">
                  <a16:creationId xmlns:a16="http://schemas.microsoft.com/office/drawing/2014/main" id="{A5025C0F-B13C-4E18-9610-D25E2C6828E2}"/>
                </a:ext>
              </a:extLst>
            </p:cNvPr>
            <p:cNvSpPr/>
            <p:nvPr/>
          </p:nvSpPr>
          <p:spPr>
            <a:xfrm>
              <a:off x="323527" y="987654"/>
              <a:ext cx="1116000" cy="7200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144000" rIns="121920" bIns="6096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00"/>
                </a:spcBef>
              </a:pPr>
              <a:r>
                <a:rPr lang="nb-NO" sz="1133" b="1" dirty="0"/>
                <a:t>1</a:t>
              </a:r>
              <a:br>
                <a:rPr lang="nb-NO" sz="1133" b="1" dirty="0"/>
              </a:br>
              <a:r>
                <a:rPr lang="nb-NO" sz="1200" b="1" dirty="0"/>
                <a:t>Oppstart av Berlevåg Industripark</a:t>
              </a:r>
            </a:p>
          </p:txBody>
        </p:sp>
        <p:cxnSp>
          <p:nvCxnSpPr>
            <p:cNvPr id="352" name="Straight Connector 351">
              <a:extLst>
                <a:ext uri="{FF2B5EF4-FFF2-40B4-BE49-F238E27FC236}">
                  <a16:creationId xmlns:a16="http://schemas.microsoft.com/office/drawing/2014/main" id="{29C1EC6C-C20E-46C2-976F-0F266A20EC8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881527" y="598103"/>
              <a:ext cx="0" cy="1044000"/>
            </a:xfrm>
            <a:prstGeom prst="line">
              <a:avLst/>
            </a:prstGeom>
            <a:ln w="12700" cmpd="sng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53" name="Oval 352">
              <a:extLst>
                <a:ext uri="{FF2B5EF4-FFF2-40B4-BE49-F238E27FC236}">
                  <a16:creationId xmlns:a16="http://schemas.microsoft.com/office/drawing/2014/main" id="{83A622ED-9879-40F1-87BE-62942F38A976}"/>
                </a:ext>
              </a:extLst>
            </p:cNvPr>
            <p:cNvSpPr/>
            <p:nvPr/>
          </p:nvSpPr>
          <p:spPr>
            <a:xfrm>
              <a:off x="795800" y="1034376"/>
              <a:ext cx="171456" cy="171454"/>
            </a:xfrm>
            <a:prstGeom prst="ellipse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>
                  <a:solidFill>
                    <a:schemeClr val="tx1"/>
                  </a:solidFill>
                </a:rPr>
                <a:t>1</a:t>
              </a:r>
            </a:p>
          </p:txBody>
        </p:sp>
        <p:cxnSp>
          <p:nvCxnSpPr>
            <p:cNvPr id="354" name="Straight Connector 353">
              <a:extLst>
                <a:ext uri="{FF2B5EF4-FFF2-40B4-BE49-F238E27FC236}">
                  <a16:creationId xmlns:a16="http://schemas.microsoft.com/office/drawing/2014/main" id="{C94EC7AD-EDC0-4564-9C27-C741C1B532C1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1062" y="1120103"/>
              <a:ext cx="106965" cy="1"/>
            </a:xfrm>
            <a:prstGeom prst="line">
              <a:avLst/>
            </a:prstGeom>
            <a:ln w="12700" cmpd="sng">
              <a:solidFill>
                <a:schemeClr val="accent4"/>
              </a:solidFill>
              <a:headEnd type="oval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0073B2C1-1437-4AF4-8CD3-1E11E3B12A79}"/>
              </a:ext>
            </a:extLst>
          </p:cNvPr>
          <p:cNvGrpSpPr/>
          <p:nvPr/>
        </p:nvGrpSpPr>
        <p:grpSpPr>
          <a:xfrm>
            <a:off x="5682828" y="774159"/>
            <a:ext cx="6480520" cy="5567613"/>
            <a:chOff x="4262121" y="580619"/>
            <a:chExt cx="4860390" cy="4175710"/>
          </a:xfrm>
        </p:grpSpPr>
        <p:sp>
          <p:nvSpPr>
            <p:cNvPr id="78" name="Rectangle 70">
              <a:extLst>
                <a:ext uri="{FF2B5EF4-FFF2-40B4-BE49-F238E27FC236}">
                  <a16:creationId xmlns:a16="http://schemas.microsoft.com/office/drawing/2014/main" id="{34502B4F-3AF1-42B4-B58F-617650868429}"/>
                </a:ext>
              </a:extLst>
            </p:cNvPr>
            <p:cNvSpPr/>
            <p:nvPr/>
          </p:nvSpPr>
          <p:spPr>
            <a:xfrm rot="17243720">
              <a:off x="6428584" y="2851301"/>
              <a:ext cx="1774899" cy="2035157"/>
            </a:xfrm>
            <a:custGeom>
              <a:avLst/>
              <a:gdLst>
                <a:gd name="connsiteX0" fmla="*/ 0 w 311960"/>
                <a:gd name="connsiteY0" fmla="*/ 0 h 404205"/>
                <a:gd name="connsiteX1" fmla="*/ 311960 w 311960"/>
                <a:gd name="connsiteY1" fmla="*/ 0 h 404205"/>
                <a:gd name="connsiteX2" fmla="*/ 311960 w 311960"/>
                <a:gd name="connsiteY2" fmla="*/ 404205 h 404205"/>
                <a:gd name="connsiteX3" fmla="*/ 0 w 311960"/>
                <a:gd name="connsiteY3" fmla="*/ 404205 h 404205"/>
                <a:gd name="connsiteX4" fmla="*/ 0 w 311960"/>
                <a:gd name="connsiteY4" fmla="*/ 0 h 404205"/>
                <a:gd name="connsiteX0" fmla="*/ 0 w 311960"/>
                <a:gd name="connsiteY0" fmla="*/ 0 h 409052"/>
                <a:gd name="connsiteX1" fmla="*/ 311960 w 311960"/>
                <a:gd name="connsiteY1" fmla="*/ 0 h 409052"/>
                <a:gd name="connsiteX2" fmla="*/ 288524 w 311960"/>
                <a:gd name="connsiteY2" fmla="*/ 409052 h 409052"/>
                <a:gd name="connsiteX3" fmla="*/ 0 w 311960"/>
                <a:gd name="connsiteY3" fmla="*/ 404205 h 409052"/>
                <a:gd name="connsiteX4" fmla="*/ 0 w 311960"/>
                <a:gd name="connsiteY4" fmla="*/ 0 h 409052"/>
                <a:gd name="connsiteX0" fmla="*/ 30828 w 342788"/>
                <a:gd name="connsiteY0" fmla="*/ 0 h 409052"/>
                <a:gd name="connsiteX1" fmla="*/ 342788 w 342788"/>
                <a:gd name="connsiteY1" fmla="*/ 0 h 409052"/>
                <a:gd name="connsiteX2" fmla="*/ 319352 w 342788"/>
                <a:gd name="connsiteY2" fmla="*/ 409052 h 409052"/>
                <a:gd name="connsiteX3" fmla="*/ 0 w 342788"/>
                <a:gd name="connsiteY3" fmla="*/ 401386 h 409052"/>
                <a:gd name="connsiteX4" fmla="*/ 30828 w 342788"/>
                <a:gd name="connsiteY4" fmla="*/ 0 h 409052"/>
                <a:gd name="connsiteX0" fmla="*/ 30691 w 342788"/>
                <a:gd name="connsiteY0" fmla="*/ 7529 h 409052"/>
                <a:gd name="connsiteX1" fmla="*/ 342788 w 342788"/>
                <a:gd name="connsiteY1" fmla="*/ 0 h 409052"/>
                <a:gd name="connsiteX2" fmla="*/ 319352 w 342788"/>
                <a:gd name="connsiteY2" fmla="*/ 409052 h 409052"/>
                <a:gd name="connsiteX3" fmla="*/ 0 w 342788"/>
                <a:gd name="connsiteY3" fmla="*/ 401386 h 409052"/>
                <a:gd name="connsiteX4" fmla="*/ 30691 w 342788"/>
                <a:gd name="connsiteY4" fmla="*/ 7529 h 409052"/>
                <a:gd name="connsiteX0" fmla="*/ 30691 w 346620"/>
                <a:gd name="connsiteY0" fmla="*/ 11224 h 412747"/>
                <a:gd name="connsiteX1" fmla="*/ 346620 w 346620"/>
                <a:gd name="connsiteY1" fmla="*/ 0 h 412747"/>
                <a:gd name="connsiteX2" fmla="*/ 319352 w 346620"/>
                <a:gd name="connsiteY2" fmla="*/ 412747 h 412747"/>
                <a:gd name="connsiteX3" fmla="*/ 0 w 346620"/>
                <a:gd name="connsiteY3" fmla="*/ 405081 h 412747"/>
                <a:gd name="connsiteX4" fmla="*/ 30691 w 346620"/>
                <a:gd name="connsiteY4" fmla="*/ 11224 h 412747"/>
                <a:gd name="connsiteX0" fmla="*/ 30691 w 320495"/>
                <a:gd name="connsiteY0" fmla="*/ 190193 h 591716"/>
                <a:gd name="connsiteX1" fmla="*/ 320495 w 320495"/>
                <a:gd name="connsiteY1" fmla="*/ 0 h 591716"/>
                <a:gd name="connsiteX2" fmla="*/ 319352 w 320495"/>
                <a:gd name="connsiteY2" fmla="*/ 591716 h 591716"/>
                <a:gd name="connsiteX3" fmla="*/ 0 w 320495"/>
                <a:gd name="connsiteY3" fmla="*/ 584050 h 591716"/>
                <a:gd name="connsiteX4" fmla="*/ 30691 w 320495"/>
                <a:gd name="connsiteY4" fmla="*/ 190193 h 591716"/>
                <a:gd name="connsiteX0" fmla="*/ 123038 w 412842"/>
                <a:gd name="connsiteY0" fmla="*/ 190193 h 591716"/>
                <a:gd name="connsiteX1" fmla="*/ 412842 w 412842"/>
                <a:gd name="connsiteY1" fmla="*/ 0 h 591716"/>
                <a:gd name="connsiteX2" fmla="*/ 411699 w 412842"/>
                <a:gd name="connsiteY2" fmla="*/ 591716 h 591716"/>
                <a:gd name="connsiteX3" fmla="*/ 0 w 412842"/>
                <a:gd name="connsiteY3" fmla="*/ 568064 h 591716"/>
                <a:gd name="connsiteX4" fmla="*/ 123038 w 412842"/>
                <a:gd name="connsiteY4" fmla="*/ 190193 h 591716"/>
                <a:gd name="connsiteX0" fmla="*/ 0 w 426785"/>
                <a:gd name="connsiteY0" fmla="*/ 0 h 655557"/>
                <a:gd name="connsiteX1" fmla="*/ 426785 w 426785"/>
                <a:gd name="connsiteY1" fmla="*/ 63841 h 655557"/>
                <a:gd name="connsiteX2" fmla="*/ 425642 w 426785"/>
                <a:gd name="connsiteY2" fmla="*/ 655557 h 655557"/>
                <a:gd name="connsiteX3" fmla="*/ 13943 w 426785"/>
                <a:gd name="connsiteY3" fmla="*/ 631905 h 655557"/>
                <a:gd name="connsiteX4" fmla="*/ 0 w 426785"/>
                <a:gd name="connsiteY4" fmla="*/ 0 h 655557"/>
                <a:gd name="connsiteX0" fmla="*/ 0 w 427440"/>
                <a:gd name="connsiteY0" fmla="*/ 13720 h 669277"/>
                <a:gd name="connsiteX1" fmla="*/ 427440 w 427440"/>
                <a:gd name="connsiteY1" fmla="*/ 0 h 669277"/>
                <a:gd name="connsiteX2" fmla="*/ 425642 w 427440"/>
                <a:gd name="connsiteY2" fmla="*/ 669277 h 669277"/>
                <a:gd name="connsiteX3" fmla="*/ 13943 w 427440"/>
                <a:gd name="connsiteY3" fmla="*/ 645625 h 669277"/>
                <a:gd name="connsiteX4" fmla="*/ 0 w 427440"/>
                <a:gd name="connsiteY4" fmla="*/ 13720 h 669277"/>
                <a:gd name="connsiteX0" fmla="*/ 0 w 427440"/>
                <a:gd name="connsiteY0" fmla="*/ 13720 h 669277"/>
                <a:gd name="connsiteX1" fmla="*/ 427440 w 427440"/>
                <a:gd name="connsiteY1" fmla="*/ 0 h 669277"/>
                <a:gd name="connsiteX2" fmla="*/ 425642 w 427440"/>
                <a:gd name="connsiteY2" fmla="*/ 669277 h 669277"/>
                <a:gd name="connsiteX3" fmla="*/ 16790 w 427440"/>
                <a:gd name="connsiteY3" fmla="*/ 654714 h 669277"/>
                <a:gd name="connsiteX4" fmla="*/ 0 w 427440"/>
                <a:gd name="connsiteY4" fmla="*/ 13720 h 669277"/>
                <a:gd name="connsiteX0" fmla="*/ 0 w 427440"/>
                <a:gd name="connsiteY0" fmla="*/ 13720 h 654714"/>
                <a:gd name="connsiteX1" fmla="*/ 427440 w 427440"/>
                <a:gd name="connsiteY1" fmla="*/ 0 h 654714"/>
                <a:gd name="connsiteX2" fmla="*/ 398036 w 427440"/>
                <a:gd name="connsiteY2" fmla="*/ 405930 h 654714"/>
                <a:gd name="connsiteX3" fmla="*/ 16790 w 427440"/>
                <a:gd name="connsiteY3" fmla="*/ 654714 h 654714"/>
                <a:gd name="connsiteX4" fmla="*/ 0 w 427440"/>
                <a:gd name="connsiteY4" fmla="*/ 13720 h 654714"/>
                <a:gd name="connsiteX0" fmla="*/ 0 w 427440"/>
                <a:gd name="connsiteY0" fmla="*/ 13720 h 654714"/>
                <a:gd name="connsiteX1" fmla="*/ 427440 w 427440"/>
                <a:gd name="connsiteY1" fmla="*/ 0 h 654714"/>
                <a:gd name="connsiteX2" fmla="*/ 398036 w 427440"/>
                <a:gd name="connsiteY2" fmla="*/ 405930 h 654714"/>
                <a:gd name="connsiteX3" fmla="*/ 254082 w 427440"/>
                <a:gd name="connsiteY3" fmla="*/ 494760 h 654714"/>
                <a:gd name="connsiteX4" fmla="*/ 16790 w 427440"/>
                <a:gd name="connsiteY4" fmla="*/ 654714 h 654714"/>
                <a:gd name="connsiteX5" fmla="*/ 0 w 427440"/>
                <a:gd name="connsiteY5" fmla="*/ 13720 h 654714"/>
                <a:gd name="connsiteX0" fmla="*/ 0 w 739573"/>
                <a:gd name="connsiteY0" fmla="*/ 13720 h 654714"/>
                <a:gd name="connsiteX1" fmla="*/ 427440 w 739573"/>
                <a:gd name="connsiteY1" fmla="*/ 0 h 654714"/>
                <a:gd name="connsiteX2" fmla="*/ 398036 w 739573"/>
                <a:gd name="connsiteY2" fmla="*/ 405930 h 654714"/>
                <a:gd name="connsiteX3" fmla="*/ 739573 w 739573"/>
                <a:gd name="connsiteY3" fmla="*/ 427502 h 654714"/>
                <a:gd name="connsiteX4" fmla="*/ 16790 w 739573"/>
                <a:gd name="connsiteY4" fmla="*/ 654714 h 654714"/>
                <a:gd name="connsiteX5" fmla="*/ 0 w 739573"/>
                <a:gd name="connsiteY5" fmla="*/ 13720 h 654714"/>
                <a:gd name="connsiteX0" fmla="*/ 0 w 740421"/>
                <a:gd name="connsiteY0" fmla="*/ 13720 h 654714"/>
                <a:gd name="connsiteX1" fmla="*/ 427440 w 740421"/>
                <a:gd name="connsiteY1" fmla="*/ 0 h 654714"/>
                <a:gd name="connsiteX2" fmla="*/ 398036 w 740421"/>
                <a:gd name="connsiteY2" fmla="*/ 405930 h 654714"/>
                <a:gd name="connsiteX3" fmla="*/ 740421 w 740421"/>
                <a:gd name="connsiteY3" fmla="*/ 422245 h 654714"/>
                <a:gd name="connsiteX4" fmla="*/ 16790 w 740421"/>
                <a:gd name="connsiteY4" fmla="*/ 654714 h 654714"/>
                <a:gd name="connsiteX5" fmla="*/ 0 w 740421"/>
                <a:gd name="connsiteY5" fmla="*/ 13720 h 654714"/>
                <a:gd name="connsiteX0" fmla="*/ 0 w 740421"/>
                <a:gd name="connsiteY0" fmla="*/ 13720 h 654714"/>
                <a:gd name="connsiteX1" fmla="*/ 427440 w 740421"/>
                <a:gd name="connsiteY1" fmla="*/ 0 h 654714"/>
                <a:gd name="connsiteX2" fmla="*/ 398036 w 740421"/>
                <a:gd name="connsiteY2" fmla="*/ 405930 h 654714"/>
                <a:gd name="connsiteX3" fmla="*/ 740421 w 740421"/>
                <a:gd name="connsiteY3" fmla="*/ 422245 h 654714"/>
                <a:gd name="connsiteX4" fmla="*/ 325294 w 740421"/>
                <a:gd name="connsiteY4" fmla="*/ 554798 h 654714"/>
                <a:gd name="connsiteX5" fmla="*/ 16790 w 740421"/>
                <a:gd name="connsiteY5" fmla="*/ 654714 h 654714"/>
                <a:gd name="connsiteX6" fmla="*/ 0 w 740421"/>
                <a:gd name="connsiteY6" fmla="*/ 13720 h 654714"/>
                <a:gd name="connsiteX0" fmla="*/ 0 w 740421"/>
                <a:gd name="connsiteY0" fmla="*/ 13720 h 1325309"/>
                <a:gd name="connsiteX1" fmla="*/ 427440 w 740421"/>
                <a:gd name="connsiteY1" fmla="*/ 0 h 1325309"/>
                <a:gd name="connsiteX2" fmla="*/ 398036 w 740421"/>
                <a:gd name="connsiteY2" fmla="*/ 405930 h 1325309"/>
                <a:gd name="connsiteX3" fmla="*/ 740421 w 740421"/>
                <a:gd name="connsiteY3" fmla="*/ 422245 h 1325309"/>
                <a:gd name="connsiteX4" fmla="*/ 701439 w 740421"/>
                <a:gd name="connsiteY4" fmla="*/ 1325309 h 1325309"/>
                <a:gd name="connsiteX5" fmla="*/ 16790 w 740421"/>
                <a:gd name="connsiteY5" fmla="*/ 654714 h 1325309"/>
                <a:gd name="connsiteX6" fmla="*/ 0 w 740421"/>
                <a:gd name="connsiteY6" fmla="*/ 13720 h 1325309"/>
                <a:gd name="connsiteX0" fmla="*/ 0 w 740421"/>
                <a:gd name="connsiteY0" fmla="*/ 13720 h 1325309"/>
                <a:gd name="connsiteX1" fmla="*/ 427440 w 740421"/>
                <a:gd name="connsiteY1" fmla="*/ 0 h 1325309"/>
                <a:gd name="connsiteX2" fmla="*/ 398036 w 740421"/>
                <a:gd name="connsiteY2" fmla="*/ 405930 h 1325309"/>
                <a:gd name="connsiteX3" fmla="*/ 740421 w 740421"/>
                <a:gd name="connsiteY3" fmla="*/ 422245 h 1325309"/>
                <a:gd name="connsiteX4" fmla="*/ 701439 w 740421"/>
                <a:gd name="connsiteY4" fmla="*/ 1325309 h 1325309"/>
                <a:gd name="connsiteX5" fmla="*/ 329852 w 740421"/>
                <a:gd name="connsiteY5" fmla="*/ 967602 h 1325309"/>
                <a:gd name="connsiteX6" fmla="*/ 16790 w 740421"/>
                <a:gd name="connsiteY6" fmla="*/ 654714 h 1325309"/>
                <a:gd name="connsiteX7" fmla="*/ 0 w 740421"/>
                <a:gd name="connsiteY7" fmla="*/ 13720 h 1325309"/>
                <a:gd name="connsiteX0" fmla="*/ 0 w 740421"/>
                <a:gd name="connsiteY0" fmla="*/ 13720 h 1347940"/>
                <a:gd name="connsiteX1" fmla="*/ 427440 w 740421"/>
                <a:gd name="connsiteY1" fmla="*/ 0 h 1347940"/>
                <a:gd name="connsiteX2" fmla="*/ 398036 w 740421"/>
                <a:gd name="connsiteY2" fmla="*/ 405930 h 1347940"/>
                <a:gd name="connsiteX3" fmla="*/ 740421 w 740421"/>
                <a:gd name="connsiteY3" fmla="*/ 422245 h 1347940"/>
                <a:gd name="connsiteX4" fmla="*/ 701439 w 740421"/>
                <a:gd name="connsiteY4" fmla="*/ 1325309 h 1347940"/>
                <a:gd name="connsiteX5" fmla="*/ 246883 w 740421"/>
                <a:gd name="connsiteY5" fmla="*/ 1347940 h 1347940"/>
                <a:gd name="connsiteX6" fmla="*/ 16790 w 740421"/>
                <a:gd name="connsiteY6" fmla="*/ 654714 h 1347940"/>
                <a:gd name="connsiteX7" fmla="*/ 0 w 740421"/>
                <a:gd name="connsiteY7" fmla="*/ 13720 h 1347940"/>
                <a:gd name="connsiteX0" fmla="*/ 0 w 740421"/>
                <a:gd name="connsiteY0" fmla="*/ 13720 h 1347940"/>
                <a:gd name="connsiteX1" fmla="*/ 427440 w 740421"/>
                <a:gd name="connsiteY1" fmla="*/ 0 h 1347940"/>
                <a:gd name="connsiteX2" fmla="*/ 398036 w 740421"/>
                <a:gd name="connsiteY2" fmla="*/ 405930 h 1347940"/>
                <a:gd name="connsiteX3" fmla="*/ 740421 w 740421"/>
                <a:gd name="connsiteY3" fmla="*/ 422245 h 1347940"/>
                <a:gd name="connsiteX4" fmla="*/ 701439 w 740421"/>
                <a:gd name="connsiteY4" fmla="*/ 1325309 h 1347940"/>
                <a:gd name="connsiteX5" fmla="*/ 246883 w 740421"/>
                <a:gd name="connsiteY5" fmla="*/ 1347940 h 1347940"/>
                <a:gd name="connsiteX6" fmla="*/ 131857 w 740421"/>
                <a:gd name="connsiteY6" fmla="*/ 1004678 h 1347940"/>
                <a:gd name="connsiteX7" fmla="*/ 16790 w 740421"/>
                <a:gd name="connsiteY7" fmla="*/ 654714 h 1347940"/>
                <a:gd name="connsiteX8" fmla="*/ 0 w 740421"/>
                <a:gd name="connsiteY8" fmla="*/ 13720 h 1347940"/>
                <a:gd name="connsiteX0" fmla="*/ 0 w 740421"/>
                <a:gd name="connsiteY0" fmla="*/ 13720 h 2014015"/>
                <a:gd name="connsiteX1" fmla="*/ 427440 w 740421"/>
                <a:gd name="connsiteY1" fmla="*/ 0 h 2014015"/>
                <a:gd name="connsiteX2" fmla="*/ 398036 w 740421"/>
                <a:gd name="connsiteY2" fmla="*/ 405930 h 2014015"/>
                <a:gd name="connsiteX3" fmla="*/ 740421 w 740421"/>
                <a:gd name="connsiteY3" fmla="*/ 422245 h 2014015"/>
                <a:gd name="connsiteX4" fmla="*/ 701439 w 740421"/>
                <a:gd name="connsiteY4" fmla="*/ 1325309 h 2014015"/>
                <a:gd name="connsiteX5" fmla="*/ 246883 w 740421"/>
                <a:gd name="connsiteY5" fmla="*/ 1347940 h 2014015"/>
                <a:gd name="connsiteX6" fmla="*/ 263417 w 740421"/>
                <a:gd name="connsiteY6" fmla="*/ 2014015 h 2014015"/>
                <a:gd name="connsiteX7" fmla="*/ 16790 w 740421"/>
                <a:gd name="connsiteY7" fmla="*/ 654714 h 2014015"/>
                <a:gd name="connsiteX8" fmla="*/ 0 w 740421"/>
                <a:gd name="connsiteY8" fmla="*/ 13720 h 2014015"/>
                <a:gd name="connsiteX0" fmla="*/ 0 w 740421"/>
                <a:gd name="connsiteY0" fmla="*/ 13720 h 2014015"/>
                <a:gd name="connsiteX1" fmla="*/ 427440 w 740421"/>
                <a:gd name="connsiteY1" fmla="*/ 0 h 2014015"/>
                <a:gd name="connsiteX2" fmla="*/ 398036 w 740421"/>
                <a:gd name="connsiteY2" fmla="*/ 405930 h 2014015"/>
                <a:gd name="connsiteX3" fmla="*/ 740421 w 740421"/>
                <a:gd name="connsiteY3" fmla="*/ 422245 h 2014015"/>
                <a:gd name="connsiteX4" fmla="*/ 701439 w 740421"/>
                <a:gd name="connsiteY4" fmla="*/ 1325309 h 2014015"/>
                <a:gd name="connsiteX5" fmla="*/ 246883 w 740421"/>
                <a:gd name="connsiteY5" fmla="*/ 1347940 h 2014015"/>
                <a:gd name="connsiteX6" fmla="*/ 263417 w 740421"/>
                <a:gd name="connsiteY6" fmla="*/ 2014015 h 2014015"/>
                <a:gd name="connsiteX7" fmla="*/ 142327 w 740421"/>
                <a:gd name="connsiteY7" fmla="*/ 1340769 h 2014015"/>
                <a:gd name="connsiteX8" fmla="*/ 16790 w 740421"/>
                <a:gd name="connsiteY8" fmla="*/ 654714 h 2014015"/>
                <a:gd name="connsiteX9" fmla="*/ 0 w 740421"/>
                <a:gd name="connsiteY9" fmla="*/ 13720 h 2014015"/>
                <a:gd name="connsiteX0" fmla="*/ 295946 w 1036367"/>
                <a:gd name="connsiteY0" fmla="*/ 13720 h 2014015"/>
                <a:gd name="connsiteX1" fmla="*/ 723386 w 1036367"/>
                <a:gd name="connsiteY1" fmla="*/ 0 h 2014015"/>
                <a:gd name="connsiteX2" fmla="*/ 693982 w 1036367"/>
                <a:gd name="connsiteY2" fmla="*/ 405930 h 2014015"/>
                <a:gd name="connsiteX3" fmla="*/ 1036367 w 1036367"/>
                <a:gd name="connsiteY3" fmla="*/ 422245 h 2014015"/>
                <a:gd name="connsiteX4" fmla="*/ 997385 w 1036367"/>
                <a:gd name="connsiteY4" fmla="*/ 1325309 h 2014015"/>
                <a:gd name="connsiteX5" fmla="*/ 542829 w 1036367"/>
                <a:gd name="connsiteY5" fmla="*/ 1347940 h 2014015"/>
                <a:gd name="connsiteX6" fmla="*/ 559363 w 1036367"/>
                <a:gd name="connsiteY6" fmla="*/ 2014015 h 2014015"/>
                <a:gd name="connsiteX7" fmla="*/ 0 w 1036367"/>
                <a:gd name="connsiteY7" fmla="*/ 1877337 h 2014015"/>
                <a:gd name="connsiteX8" fmla="*/ 312736 w 1036367"/>
                <a:gd name="connsiteY8" fmla="*/ 654714 h 2014015"/>
                <a:gd name="connsiteX9" fmla="*/ 295946 w 1036367"/>
                <a:gd name="connsiteY9" fmla="*/ 13720 h 2014015"/>
                <a:gd name="connsiteX0" fmla="*/ 295946 w 1036367"/>
                <a:gd name="connsiteY0" fmla="*/ 13720 h 2014015"/>
                <a:gd name="connsiteX1" fmla="*/ 723386 w 1036367"/>
                <a:gd name="connsiteY1" fmla="*/ 0 h 2014015"/>
                <a:gd name="connsiteX2" fmla="*/ 693982 w 1036367"/>
                <a:gd name="connsiteY2" fmla="*/ 405930 h 2014015"/>
                <a:gd name="connsiteX3" fmla="*/ 1036367 w 1036367"/>
                <a:gd name="connsiteY3" fmla="*/ 422245 h 2014015"/>
                <a:gd name="connsiteX4" fmla="*/ 997385 w 1036367"/>
                <a:gd name="connsiteY4" fmla="*/ 1325309 h 2014015"/>
                <a:gd name="connsiteX5" fmla="*/ 542829 w 1036367"/>
                <a:gd name="connsiteY5" fmla="*/ 1347940 h 2014015"/>
                <a:gd name="connsiteX6" fmla="*/ 559363 w 1036367"/>
                <a:gd name="connsiteY6" fmla="*/ 2014015 h 2014015"/>
                <a:gd name="connsiteX7" fmla="*/ 0 w 1036367"/>
                <a:gd name="connsiteY7" fmla="*/ 1877337 h 2014015"/>
                <a:gd name="connsiteX8" fmla="*/ 132772 w 1036367"/>
                <a:gd name="connsiteY8" fmla="*/ 1353301 h 2014015"/>
                <a:gd name="connsiteX9" fmla="*/ 312736 w 1036367"/>
                <a:gd name="connsiteY9" fmla="*/ 654714 h 2014015"/>
                <a:gd name="connsiteX10" fmla="*/ 295946 w 1036367"/>
                <a:gd name="connsiteY10" fmla="*/ 13720 h 2014015"/>
                <a:gd name="connsiteX0" fmla="*/ 785844 w 1526265"/>
                <a:gd name="connsiteY0" fmla="*/ 13720 h 2014015"/>
                <a:gd name="connsiteX1" fmla="*/ 1213284 w 1526265"/>
                <a:gd name="connsiteY1" fmla="*/ 0 h 2014015"/>
                <a:gd name="connsiteX2" fmla="*/ 1183880 w 1526265"/>
                <a:gd name="connsiteY2" fmla="*/ 405930 h 2014015"/>
                <a:gd name="connsiteX3" fmla="*/ 1526265 w 1526265"/>
                <a:gd name="connsiteY3" fmla="*/ 422245 h 2014015"/>
                <a:gd name="connsiteX4" fmla="*/ 1487283 w 1526265"/>
                <a:gd name="connsiteY4" fmla="*/ 1325309 h 2014015"/>
                <a:gd name="connsiteX5" fmla="*/ 1032727 w 1526265"/>
                <a:gd name="connsiteY5" fmla="*/ 1347940 h 2014015"/>
                <a:gd name="connsiteX6" fmla="*/ 1049261 w 1526265"/>
                <a:gd name="connsiteY6" fmla="*/ 2014015 h 2014015"/>
                <a:gd name="connsiteX7" fmla="*/ 489898 w 1526265"/>
                <a:gd name="connsiteY7" fmla="*/ 1877337 h 2014015"/>
                <a:gd name="connsiteX8" fmla="*/ 0 w 1526265"/>
                <a:gd name="connsiteY8" fmla="*/ 1744681 h 2014015"/>
                <a:gd name="connsiteX9" fmla="*/ 802634 w 1526265"/>
                <a:gd name="connsiteY9" fmla="*/ 654714 h 2014015"/>
                <a:gd name="connsiteX10" fmla="*/ 785844 w 1526265"/>
                <a:gd name="connsiteY10" fmla="*/ 13720 h 2014015"/>
                <a:gd name="connsiteX0" fmla="*/ 785844 w 1526265"/>
                <a:gd name="connsiteY0" fmla="*/ 13720 h 2014015"/>
                <a:gd name="connsiteX1" fmla="*/ 1213284 w 1526265"/>
                <a:gd name="connsiteY1" fmla="*/ 0 h 2014015"/>
                <a:gd name="connsiteX2" fmla="*/ 1183880 w 1526265"/>
                <a:gd name="connsiteY2" fmla="*/ 405930 h 2014015"/>
                <a:gd name="connsiteX3" fmla="*/ 1526265 w 1526265"/>
                <a:gd name="connsiteY3" fmla="*/ 422245 h 2014015"/>
                <a:gd name="connsiteX4" fmla="*/ 1487283 w 1526265"/>
                <a:gd name="connsiteY4" fmla="*/ 1325309 h 2014015"/>
                <a:gd name="connsiteX5" fmla="*/ 1032727 w 1526265"/>
                <a:gd name="connsiteY5" fmla="*/ 1347940 h 2014015"/>
                <a:gd name="connsiteX6" fmla="*/ 1049261 w 1526265"/>
                <a:gd name="connsiteY6" fmla="*/ 2014015 h 2014015"/>
                <a:gd name="connsiteX7" fmla="*/ 489898 w 1526265"/>
                <a:gd name="connsiteY7" fmla="*/ 1877337 h 2014015"/>
                <a:gd name="connsiteX8" fmla="*/ 0 w 1526265"/>
                <a:gd name="connsiteY8" fmla="*/ 1744681 h 2014015"/>
                <a:gd name="connsiteX9" fmla="*/ 407766 w 1526265"/>
                <a:gd name="connsiteY9" fmla="*/ 1187727 h 2014015"/>
                <a:gd name="connsiteX10" fmla="*/ 802634 w 1526265"/>
                <a:gd name="connsiteY10" fmla="*/ 654714 h 2014015"/>
                <a:gd name="connsiteX11" fmla="*/ 785844 w 1526265"/>
                <a:gd name="connsiteY11" fmla="*/ 13720 h 2014015"/>
                <a:gd name="connsiteX0" fmla="*/ 953910 w 1694331"/>
                <a:gd name="connsiteY0" fmla="*/ 13720 h 2014015"/>
                <a:gd name="connsiteX1" fmla="*/ 1381350 w 1694331"/>
                <a:gd name="connsiteY1" fmla="*/ 0 h 2014015"/>
                <a:gd name="connsiteX2" fmla="*/ 1351946 w 1694331"/>
                <a:gd name="connsiteY2" fmla="*/ 405930 h 2014015"/>
                <a:gd name="connsiteX3" fmla="*/ 1694331 w 1694331"/>
                <a:gd name="connsiteY3" fmla="*/ 422245 h 2014015"/>
                <a:gd name="connsiteX4" fmla="*/ 1655349 w 1694331"/>
                <a:gd name="connsiteY4" fmla="*/ 1325309 h 2014015"/>
                <a:gd name="connsiteX5" fmla="*/ 1200793 w 1694331"/>
                <a:gd name="connsiteY5" fmla="*/ 1347940 h 2014015"/>
                <a:gd name="connsiteX6" fmla="*/ 1217327 w 1694331"/>
                <a:gd name="connsiteY6" fmla="*/ 2014015 h 2014015"/>
                <a:gd name="connsiteX7" fmla="*/ 657964 w 1694331"/>
                <a:gd name="connsiteY7" fmla="*/ 1877337 h 2014015"/>
                <a:gd name="connsiteX8" fmla="*/ 168066 w 1694331"/>
                <a:gd name="connsiteY8" fmla="*/ 1744681 h 2014015"/>
                <a:gd name="connsiteX9" fmla="*/ 0 w 1694331"/>
                <a:gd name="connsiteY9" fmla="*/ 1654267 h 2014015"/>
                <a:gd name="connsiteX10" fmla="*/ 970700 w 1694331"/>
                <a:gd name="connsiteY10" fmla="*/ 654714 h 2014015"/>
                <a:gd name="connsiteX11" fmla="*/ 953910 w 1694331"/>
                <a:gd name="connsiteY11" fmla="*/ 13720 h 2014015"/>
                <a:gd name="connsiteX0" fmla="*/ 953910 w 1694331"/>
                <a:gd name="connsiteY0" fmla="*/ 13720 h 2014015"/>
                <a:gd name="connsiteX1" fmla="*/ 1381350 w 1694331"/>
                <a:gd name="connsiteY1" fmla="*/ 0 h 2014015"/>
                <a:gd name="connsiteX2" fmla="*/ 1351946 w 1694331"/>
                <a:gd name="connsiteY2" fmla="*/ 405930 h 2014015"/>
                <a:gd name="connsiteX3" fmla="*/ 1694331 w 1694331"/>
                <a:gd name="connsiteY3" fmla="*/ 422245 h 2014015"/>
                <a:gd name="connsiteX4" fmla="*/ 1655349 w 1694331"/>
                <a:gd name="connsiteY4" fmla="*/ 1325309 h 2014015"/>
                <a:gd name="connsiteX5" fmla="*/ 1200793 w 1694331"/>
                <a:gd name="connsiteY5" fmla="*/ 1347940 h 2014015"/>
                <a:gd name="connsiteX6" fmla="*/ 1217327 w 1694331"/>
                <a:gd name="connsiteY6" fmla="*/ 2014015 h 2014015"/>
                <a:gd name="connsiteX7" fmla="*/ 657964 w 1694331"/>
                <a:gd name="connsiteY7" fmla="*/ 1877337 h 2014015"/>
                <a:gd name="connsiteX8" fmla="*/ 168066 w 1694331"/>
                <a:gd name="connsiteY8" fmla="*/ 1744681 h 2014015"/>
                <a:gd name="connsiteX9" fmla="*/ 0 w 1694331"/>
                <a:gd name="connsiteY9" fmla="*/ 1654267 h 2014015"/>
                <a:gd name="connsiteX10" fmla="*/ 432847 w 1694331"/>
                <a:gd name="connsiteY10" fmla="*/ 1209233 h 2014015"/>
                <a:gd name="connsiteX11" fmla="*/ 970700 w 1694331"/>
                <a:gd name="connsiteY11" fmla="*/ 654714 h 2014015"/>
                <a:gd name="connsiteX12" fmla="*/ 953910 w 1694331"/>
                <a:gd name="connsiteY12" fmla="*/ 13720 h 2014015"/>
                <a:gd name="connsiteX0" fmla="*/ 953910 w 1694331"/>
                <a:gd name="connsiteY0" fmla="*/ 13720 h 2014015"/>
                <a:gd name="connsiteX1" fmla="*/ 1381350 w 1694331"/>
                <a:gd name="connsiteY1" fmla="*/ 0 h 2014015"/>
                <a:gd name="connsiteX2" fmla="*/ 1351946 w 1694331"/>
                <a:gd name="connsiteY2" fmla="*/ 405930 h 2014015"/>
                <a:gd name="connsiteX3" fmla="*/ 1694331 w 1694331"/>
                <a:gd name="connsiteY3" fmla="*/ 422245 h 2014015"/>
                <a:gd name="connsiteX4" fmla="*/ 1655349 w 1694331"/>
                <a:gd name="connsiteY4" fmla="*/ 1325309 h 2014015"/>
                <a:gd name="connsiteX5" fmla="*/ 1200793 w 1694331"/>
                <a:gd name="connsiteY5" fmla="*/ 1347940 h 2014015"/>
                <a:gd name="connsiteX6" fmla="*/ 1217327 w 1694331"/>
                <a:gd name="connsiteY6" fmla="*/ 2014015 h 2014015"/>
                <a:gd name="connsiteX7" fmla="*/ 657964 w 1694331"/>
                <a:gd name="connsiteY7" fmla="*/ 1877337 h 2014015"/>
                <a:gd name="connsiteX8" fmla="*/ 168066 w 1694331"/>
                <a:gd name="connsiteY8" fmla="*/ 1744681 h 2014015"/>
                <a:gd name="connsiteX9" fmla="*/ 0 w 1694331"/>
                <a:gd name="connsiteY9" fmla="*/ 1654267 h 2014015"/>
                <a:gd name="connsiteX10" fmla="*/ 305893 w 1694331"/>
                <a:gd name="connsiteY10" fmla="*/ 1398729 h 2014015"/>
                <a:gd name="connsiteX11" fmla="*/ 970700 w 1694331"/>
                <a:gd name="connsiteY11" fmla="*/ 654714 h 2014015"/>
                <a:gd name="connsiteX12" fmla="*/ 953910 w 1694331"/>
                <a:gd name="connsiteY12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1051268 w 1774899"/>
                <a:gd name="connsiteY11" fmla="*/ 654714 h 2014015"/>
                <a:gd name="connsiteX12" fmla="*/ 1034478 w 1774899"/>
                <a:gd name="connsiteY12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488554 w 1774899"/>
                <a:gd name="connsiteY11" fmla="*/ 1140496 h 2014015"/>
                <a:gd name="connsiteX12" fmla="*/ 1051268 w 1774899"/>
                <a:gd name="connsiteY12" fmla="*/ 654714 h 2014015"/>
                <a:gd name="connsiteX13" fmla="*/ 1034478 w 1774899"/>
                <a:gd name="connsiteY13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1051268 w 1774899"/>
                <a:gd name="connsiteY12" fmla="*/ 654714 h 2014015"/>
                <a:gd name="connsiteX13" fmla="*/ 1034478 w 1774899"/>
                <a:gd name="connsiteY13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701088 w 1774899"/>
                <a:gd name="connsiteY12" fmla="*/ 694552 h 2014015"/>
                <a:gd name="connsiteX13" fmla="*/ 1034478 w 1774899"/>
                <a:gd name="connsiteY13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634559 w 1774899"/>
                <a:gd name="connsiteY12" fmla="*/ 841889 h 2014015"/>
                <a:gd name="connsiteX13" fmla="*/ 701088 w 1774899"/>
                <a:gd name="connsiteY13" fmla="*/ 694552 h 2014015"/>
                <a:gd name="connsiteX14" fmla="*/ 1034478 w 1774899"/>
                <a:gd name="connsiteY14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505631 w 1774899"/>
                <a:gd name="connsiteY12" fmla="*/ 918880 h 2014015"/>
                <a:gd name="connsiteX13" fmla="*/ 701088 w 1774899"/>
                <a:gd name="connsiteY13" fmla="*/ 694552 h 2014015"/>
                <a:gd name="connsiteX14" fmla="*/ 1034478 w 1774899"/>
                <a:gd name="connsiteY14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511652 w 1774899"/>
                <a:gd name="connsiteY12" fmla="*/ 863759 h 2014015"/>
                <a:gd name="connsiteX13" fmla="*/ 701088 w 1774899"/>
                <a:gd name="connsiteY13" fmla="*/ 694552 h 2014015"/>
                <a:gd name="connsiteX14" fmla="*/ 1034478 w 1774899"/>
                <a:gd name="connsiteY14" fmla="*/ 13720 h 2014015"/>
                <a:gd name="connsiteX0" fmla="*/ 1034478 w 1774899"/>
                <a:gd name="connsiteY0" fmla="*/ 13720 h 2014015"/>
                <a:gd name="connsiteX1" fmla="*/ 1461918 w 1774899"/>
                <a:gd name="connsiteY1" fmla="*/ 0 h 2014015"/>
                <a:gd name="connsiteX2" fmla="*/ 1432514 w 1774899"/>
                <a:gd name="connsiteY2" fmla="*/ 405930 h 2014015"/>
                <a:gd name="connsiteX3" fmla="*/ 1774899 w 1774899"/>
                <a:gd name="connsiteY3" fmla="*/ 422245 h 2014015"/>
                <a:gd name="connsiteX4" fmla="*/ 1735917 w 1774899"/>
                <a:gd name="connsiteY4" fmla="*/ 1325309 h 2014015"/>
                <a:gd name="connsiteX5" fmla="*/ 1281361 w 1774899"/>
                <a:gd name="connsiteY5" fmla="*/ 1347940 h 2014015"/>
                <a:gd name="connsiteX6" fmla="*/ 1297895 w 1774899"/>
                <a:gd name="connsiteY6" fmla="*/ 2014015 h 2014015"/>
                <a:gd name="connsiteX7" fmla="*/ 738532 w 1774899"/>
                <a:gd name="connsiteY7" fmla="*/ 1877337 h 2014015"/>
                <a:gd name="connsiteX8" fmla="*/ 248634 w 1774899"/>
                <a:gd name="connsiteY8" fmla="*/ 1744681 h 2014015"/>
                <a:gd name="connsiteX9" fmla="*/ 80568 w 1774899"/>
                <a:gd name="connsiteY9" fmla="*/ 1654267 h 2014015"/>
                <a:gd name="connsiteX10" fmla="*/ 0 w 1774899"/>
                <a:gd name="connsiteY10" fmla="*/ 1556403 h 2014015"/>
                <a:gd name="connsiteX11" fmla="*/ 385148 w 1774899"/>
                <a:gd name="connsiteY11" fmla="*/ 1415775 h 2014015"/>
                <a:gd name="connsiteX12" fmla="*/ 511652 w 1774899"/>
                <a:gd name="connsiteY12" fmla="*/ 863759 h 2014015"/>
                <a:gd name="connsiteX13" fmla="*/ 1034478 w 1774899"/>
                <a:gd name="connsiteY13" fmla="*/ 13720 h 2014015"/>
                <a:gd name="connsiteX0" fmla="*/ 1050173 w 1774899"/>
                <a:gd name="connsiteY0" fmla="*/ 0 h 2035157"/>
                <a:gd name="connsiteX1" fmla="*/ 1461918 w 1774899"/>
                <a:gd name="connsiteY1" fmla="*/ 21142 h 2035157"/>
                <a:gd name="connsiteX2" fmla="*/ 1432514 w 1774899"/>
                <a:gd name="connsiteY2" fmla="*/ 427072 h 2035157"/>
                <a:gd name="connsiteX3" fmla="*/ 1774899 w 1774899"/>
                <a:gd name="connsiteY3" fmla="*/ 443387 h 2035157"/>
                <a:gd name="connsiteX4" fmla="*/ 1735917 w 1774899"/>
                <a:gd name="connsiteY4" fmla="*/ 1346451 h 2035157"/>
                <a:gd name="connsiteX5" fmla="*/ 1281361 w 1774899"/>
                <a:gd name="connsiteY5" fmla="*/ 1369082 h 2035157"/>
                <a:gd name="connsiteX6" fmla="*/ 1297895 w 1774899"/>
                <a:gd name="connsiteY6" fmla="*/ 2035157 h 2035157"/>
                <a:gd name="connsiteX7" fmla="*/ 738532 w 1774899"/>
                <a:gd name="connsiteY7" fmla="*/ 1898479 h 2035157"/>
                <a:gd name="connsiteX8" fmla="*/ 248634 w 1774899"/>
                <a:gd name="connsiteY8" fmla="*/ 1765823 h 2035157"/>
                <a:gd name="connsiteX9" fmla="*/ 80568 w 1774899"/>
                <a:gd name="connsiteY9" fmla="*/ 1675409 h 2035157"/>
                <a:gd name="connsiteX10" fmla="*/ 0 w 1774899"/>
                <a:gd name="connsiteY10" fmla="*/ 1577545 h 2035157"/>
                <a:gd name="connsiteX11" fmla="*/ 385148 w 1774899"/>
                <a:gd name="connsiteY11" fmla="*/ 1436917 h 2035157"/>
                <a:gd name="connsiteX12" fmla="*/ 511652 w 1774899"/>
                <a:gd name="connsiteY12" fmla="*/ 884901 h 2035157"/>
                <a:gd name="connsiteX13" fmla="*/ 1050173 w 1774899"/>
                <a:gd name="connsiteY13" fmla="*/ 0 h 2035157"/>
                <a:gd name="connsiteX0" fmla="*/ 1050173 w 1774899"/>
                <a:gd name="connsiteY0" fmla="*/ 0 h 2035157"/>
                <a:gd name="connsiteX1" fmla="*/ 1466599 w 1774899"/>
                <a:gd name="connsiteY1" fmla="*/ 12191 h 2035157"/>
                <a:gd name="connsiteX2" fmla="*/ 1432514 w 1774899"/>
                <a:gd name="connsiteY2" fmla="*/ 427072 h 2035157"/>
                <a:gd name="connsiteX3" fmla="*/ 1774899 w 1774899"/>
                <a:gd name="connsiteY3" fmla="*/ 443387 h 2035157"/>
                <a:gd name="connsiteX4" fmla="*/ 1735917 w 1774899"/>
                <a:gd name="connsiteY4" fmla="*/ 1346451 h 2035157"/>
                <a:gd name="connsiteX5" fmla="*/ 1281361 w 1774899"/>
                <a:gd name="connsiteY5" fmla="*/ 1369082 h 2035157"/>
                <a:gd name="connsiteX6" fmla="*/ 1297895 w 1774899"/>
                <a:gd name="connsiteY6" fmla="*/ 2035157 h 2035157"/>
                <a:gd name="connsiteX7" fmla="*/ 738532 w 1774899"/>
                <a:gd name="connsiteY7" fmla="*/ 1898479 h 2035157"/>
                <a:gd name="connsiteX8" fmla="*/ 248634 w 1774899"/>
                <a:gd name="connsiteY8" fmla="*/ 1765823 h 2035157"/>
                <a:gd name="connsiteX9" fmla="*/ 80568 w 1774899"/>
                <a:gd name="connsiteY9" fmla="*/ 1675409 h 2035157"/>
                <a:gd name="connsiteX10" fmla="*/ 0 w 1774899"/>
                <a:gd name="connsiteY10" fmla="*/ 1577545 h 2035157"/>
                <a:gd name="connsiteX11" fmla="*/ 385148 w 1774899"/>
                <a:gd name="connsiteY11" fmla="*/ 1436917 h 2035157"/>
                <a:gd name="connsiteX12" fmla="*/ 511652 w 1774899"/>
                <a:gd name="connsiteY12" fmla="*/ 884901 h 2035157"/>
                <a:gd name="connsiteX13" fmla="*/ 1050173 w 1774899"/>
                <a:gd name="connsiteY13" fmla="*/ 0 h 2035157"/>
                <a:gd name="connsiteX0" fmla="*/ 1050173 w 1774899"/>
                <a:gd name="connsiteY0" fmla="*/ 0 h 2035157"/>
                <a:gd name="connsiteX1" fmla="*/ 1464326 w 1774899"/>
                <a:gd name="connsiteY1" fmla="*/ 12904 h 2035157"/>
                <a:gd name="connsiteX2" fmla="*/ 1432514 w 1774899"/>
                <a:gd name="connsiteY2" fmla="*/ 427072 h 2035157"/>
                <a:gd name="connsiteX3" fmla="*/ 1774899 w 1774899"/>
                <a:gd name="connsiteY3" fmla="*/ 443387 h 2035157"/>
                <a:gd name="connsiteX4" fmla="*/ 1735917 w 1774899"/>
                <a:gd name="connsiteY4" fmla="*/ 1346451 h 2035157"/>
                <a:gd name="connsiteX5" fmla="*/ 1281361 w 1774899"/>
                <a:gd name="connsiteY5" fmla="*/ 1369082 h 2035157"/>
                <a:gd name="connsiteX6" fmla="*/ 1297895 w 1774899"/>
                <a:gd name="connsiteY6" fmla="*/ 2035157 h 2035157"/>
                <a:gd name="connsiteX7" fmla="*/ 738532 w 1774899"/>
                <a:gd name="connsiteY7" fmla="*/ 1898479 h 2035157"/>
                <a:gd name="connsiteX8" fmla="*/ 248634 w 1774899"/>
                <a:gd name="connsiteY8" fmla="*/ 1765823 h 2035157"/>
                <a:gd name="connsiteX9" fmla="*/ 80568 w 1774899"/>
                <a:gd name="connsiteY9" fmla="*/ 1675409 h 2035157"/>
                <a:gd name="connsiteX10" fmla="*/ 0 w 1774899"/>
                <a:gd name="connsiteY10" fmla="*/ 1577545 h 2035157"/>
                <a:gd name="connsiteX11" fmla="*/ 385148 w 1774899"/>
                <a:gd name="connsiteY11" fmla="*/ 1436917 h 2035157"/>
                <a:gd name="connsiteX12" fmla="*/ 511652 w 1774899"/>
                <a:gd name="connsiteY12" fmla="*/ 884901 h 2035157"/>
                <a:gd name="connsiteX13" fmla="*/ 1050173 w 1774899"/>
                <a:gd name="connsiteY13" fmla="*/ 0 h 2035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774899" h="2035157">
                  <a:moveTo>
                    <a:pt x="1050173" y="0"/>
                  </a:moveTo>
                  <a:lnTo>
                    <a:pt x="1464326" y="12904"/>
                  </a:lnTo>
                  <a:cubicBezTo>
                    <a:pt x="1463727" y="235996"/>
                    <a:pt x="1433113" y="203980"/>
                    <a:pt x="1432514" y="427072"/>
                  </a:cubicBezTo>
                  <a:lnTo>
                    <a:pt x="1774899" y="443387"/>
                  </a:lnTo>
                  <a:lnTo>
                    <a:pt x="1735917" y="1346451"/>
                  </a:lnTo>
                  <a:lnTo>
                    <a:pt x="1281361" y="1369082"/>
                  </a:lnTo>
                  <a:lnTo>
                    <a:pt x="1297895" y="2035157"/>
                  </a:lnTo>
                  <a:lnTo>
                    <a:pt x="738532" y="1898479"/>
                  </a:lnTo>
                  <a:lnTo>
                    <a:pt x="248634" y="1765823"/>
                  </a:lnTo>
                  <a:lnTo>
                    <a:pt x="80568" y="1675409"/>
                  </a:lnTo>
                  <a:lnTo>
                    <a:pt x="0" y="1577545"/>
                  </a:lnTo>
                  <a:lnTo>
                    <a:pt x="385148" y="1436917"/>
                  </a:lnTo>
                  <a:lnTo>
                    <a:pt x="511652" y="884901"/>
                  </a:lnTo>
                  <a:lnTo>
                    <a:pt x="1050173" y="0"/>
                  </a:lnTo>
                  <a:close/>
                </a:path>
              </a:pathLst>
            </a:custGeom>
            <a:solidFill>
              <a:srgbClr val="9966CC">
                <a:alpha val="50196"/>
              </a:srgbClr>
            </a:solidFill>
            <a:ln w="9525">
              <a:solidFill>
                <a:schemeClr val="accent4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 dirty="0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92266F4C-79B8-44DF-A448-C45D81BF86FF}"/>
                </a:ext>
              </a:extLst>
            </p:cNvPr>
            <p:cNvGrpSpPr/>
            <p:nvPr/>
          </p:nvGrpSpPr>
          <p:grpSpPr>
            <a:xfrm>
              <a:off x="4262121" y="580619"/>
              <a:ext cx="4860390" cy="2988984"/>
              <a:chOff x="4262121" y="580619"/>
              <a:chExt cx="4860390" cy="2988984"/>
            </a:xfrm>
          </p:grpSpPr>
          <p:cxnSp>
            <p:nvCxnSpPr>
              <p:cNvPr id="210" name="Straight Connector 209">
                <a:extLst>
                  <a:ext uri="{FF2B5EF4-FFF2-40B4-BE49-F238E27FC236}">
                    <a16:creationId xmlns:a16="http://schemas.microsoft.com/office/drawing/2014/main" id="{3BEF81BB-F70D-41D2-952C-0BD558404BD0}"/>
                  </a:ext>
                </a:extLst>
              </p:cNvPr>
              <p:cNvCxnSpPr>
                <a:cxnSpLocks/>
                <a:stCxn id="205" idx="2"/>
                <a:endCxn id="206" idx="7"/>
              </p:cNvCxnSpPr>
              <p:nvPr/>
            </p:nvCxnSpPr>
            <p:spPr>
              <a:xfrm flipH="1">
                <a:off x="4445028" y="1495162"/>
                <a:ext cx="1151399" cy="528563"/>
              </a:xfrm>
              <a:prstGeom prst="line">
                <a:avLst/>
              </a:prstGeom>
              <a:ln w="12700">
                <a:solidFill>
                  <a:srgbClr val="C0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2D6E631A-BC13-4F86-BBA9-0FFE56FEB523}"/>
                  </a:ext>
                </a:extLst>
              </p:cNvPr>
              <p:cNvGrpSpPr/>
              <p:nvPr/>
            </p:nvGrpSpPr>
            <p:grpSpPr>
              <a:xfrm>
                <a:off x="4262121" y="580619"/>
                <a:ext cx="4860390" cy="2988984"/>
                <a:chOff x="4262121" y="580619"/>
                <a:chExt cx="4860390" cy="2988984"/>
              </a:xfrm>
            </p:grpSpPr>
            <p:sp>
              <p:nvSpPr>
                <p:cNvPr id="221" name="Oval 220">
                  <a:extLst>
                    <a:ext uri="{FF2B5EF4-FFF2-40B4-BE49-F238E27FC236}">
                      <a16:creationId xmlns:a16="http://schemas.microsoft.com/office/drawing/2014/main" id="{D9EBCB43-378A-47C2-A055-D100776E6662}"/>
                    </a:ext>
                  </a:extLst>
                </p:cNvPr>
                <p:cNvSpPr/>
                <p:nvPr/>
              </p:nvSpPr>
              <p:spPr>
                <a:xfrm>
                  <a:off x="4975699" y="702791"/>
                  <a:ext cx="36000" cy="36000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400"/>
                </a:p>
              </p:txBody>
            </p:sp>
            <p:grpSp>
              <p:nvGrpSpPr>
                <p:cNvPr id="31" name="Group 30">
                  <a:extLst>
                    <a:ext uri="{FF2B5EF4-FFF2-40B4-BE49-F238E27FC236}">
                      <a16:creationId xmlns:a16="http://schemas.microsoft.com/office/drawing/2014/main" id="{3B1EF4F5-8DD4-488F-B65F-CD03F236FDA9}"/>
                    </a:ext>
                  </a:extLst>
                </p:cNvPr>
                <p:cNvGrpSpPr/>
                <p:nvPr/>
              </p:nvGrpSpPr>
              <p:grpSpPr>
                <a:xfrm>
                  <a:off x="4262121" y="580619"/>
                  <a:ext cx="4860390" cy="2988984"/>
                  <a:chOff x="4262121" y="580619"/>
                  <a:chExt cx="4860390" cy="2988984"/>
                </a:xfrm>
              </p:grpSpPr>
              <p:cxnSp>
                <p:nvCxnSpPr>
                  <p:cNvPr id="116" name="Straight Connector 115">
                    <a:extLst>
                      <a:ext uri="{FF2B5EF4-FFF2-40B4-BE49-F238E27FC236}">
                        <a16:creationId xmlns:a16="http://schemas.microsoft.com/office/drawing/2014/main" id="{D481ACF0-0A0B-486B-A41E-DA4EAACEB1C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4262121" y="719138"/>
                    <a:ext cx="730852" cy="663002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Straight Connector 123">
                    <a:extLst>
                      <a:ext uri="{FF2B5EF4-FFF2-40B4-BE49-F238E27FC236}">
                        <a16:creationId xmlns:a16="http://schemas.microsoft.com/office/drawing/2014/main" id="{D20A378F-72E9-4E76-859C-4084BFE3294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646847" y="592931"/>
                    <a:ext cx="157307" cy="0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Straight Connector 142">
                    <a:extLst>
                      <a:ext uri="{FF2B5EF4-FFF2-40B4-BE49-F238E27FC236}">
                        <a16:creationId xmlns:a16="http://schemas.microsoft.com/office/drawing/2014/main" id="{F37533AE-5A0F-4C97-A70E-EDDEA8C7D92A}"/>
                      </a:ext>
                    </a:extLst>
                  </p:cNvPr>
                  <p:cNvCxnSpPr>
                    <a:cxnSpLocks/>
                    <a:stCxn id="144" idx="6"/>
                    <a:endCxn id="322" idx="2"/>
                  </p:cNvCxnSpPr>
                  <p:nvPr/>
                </p:nvCxnSpPr>
                <p:spPr>
                  <a:xfrm>
                    <a:off x="8531125" y="3338856"/>
                    <a:ext cx="269124" cy="69841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  <a:headEnd type="none" w="med" len="med"/>
                    <a:tailEnd type="triangle" w="med" len="me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0" name="Oval 199">
                    <a:extLst>
                      <a:ext uri="{FF2B5EF4-FFF2-40B4-BE49-F238E27FC236}">
                        <a16:creationId xmlns:a16="http://schemas.microsoft.com/office/drawing/2014/main" id="{A27C2E87-9701-4220-A6FD-785F9439E114}"/>
                      </a:ext>
                    </a:extLst>
                  </p:cNvPr>
                  <p:cNvSpPr/>
                  <p:nvPr/>
                </p:nvSpPr>
                <p:spPr>
                  <a:xfrm>
                    <a:off x="5571929" y="2236755"/>
                    <a:ext cx="36000" cy="36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/>
                  </a:p>
                </p:txBody>
              </p:sp>
              <p:cxnSp>
                <p:nvCxnSpPr>
                  <p:cNvPr id="201" name="Straight Connector 200">
                    <a:extLst>
                      <a:ext uri="{FF2B5EF4-FFF2-40B4-BE49-F238E27FC236}">
                        <a16:creationId xmlns:a16="http://schemas.microsoft.com/office/drawing/2014/main" id="{833DFA79-BB65-405E-A0B9-E054ED63037B}"/>
                      </a:ext>
                    </a:extLst>
                  </p:cNvPr>
                  <p:cNvCxnSpPr>
                    <a:cxnSpLocks/>
                    <a:endCxn id="200" idx="6"/>
                  </p:cNvCxnSpPr>
                  <p:nvPr/>
                </p:nvCxnSpPr>
                <p:spPr>
                  <a:xfrm flipH="1" flipV="1">
                    <a:off x="5607929" y="2254755"/>
                    <a:ext cx="1166944" cy="469972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5" name="Oval 204">
                    <a:extLst>
                      <a:ext uri="{FF2B5EF4-FFF2-40B4-BE49-F238E27FC236}">
                        <a16:creationId xmlns:a16="http://schemas.microsoft.com/office/drawing/2014/main" id="{CEB570AA-C548-489C-88B3-312EB501EE05}"/>
                      </a:ext>
                    </a:extLst>
                  </p:cNvPr>
                  <p:cNvSpPr/>
                  <p:nvPr/>
                </p:nvSpPr>
                <p:spPr>
                  <a:xfrm>
                    <a:off x="5596427" y="1477162"/>
                    <a:ext cx="36000" cy="36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/>
                  </a:p>
                </p:txBody>
              </p:sp>
              <p:sp>
                <p:nvSpPr>
                  <p:cNvPr id="206" name="Oval 205">
                    <a:extLst>
                      <a:ext uri="{FF2B5EF4-FFF2-40B4-BE49-F238E27FC236}">
                        <a16:creationId xmlns:a16="http://schemas.microsoft.com/office/drawing/2014/main" id="{7E222932-2977-4039-B5A5-DA50A18433EA}"/>
                      </a:ext>
                    </a:extLst>
                  </p:cNvPr>
                  <p:cNvSpPr/>
                  <p:nvPr/>
                </p:nvSpPr>
                <p:spPr>
                  <a:xfrm>
                    <a:off x="4414300" y="2018453"/>
                    <a:ext cx="36000" cy="36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/>
                  </a:p>
                </p:txBody>
              </p:sp>
              <p:cxnSp>
                <p:nvCxnSpPr>
                  <p:cNvPr id="207" name="Straight Connector 206">
                    <a:extLst>
                      <a:ext uri="{FF2B5EF4-FFF2-40B4-BE49-F238E27FC236}">
                        <a16:creationId xmlns:a16="http://schemas.microsoft.com/office/drawing/2014/main" id="{8A9FCC2D-293A-45DA-9AF9-8DCE5F8C0447}"/>
                      </a:ext>
                    </a:extLst>
                  </p:cNvPr>
                  <p:cNvCxnSpPr>
                    <a:cxnSpLocks/>
                    <a:stCxn id="205" idx="4"/>
                    <a:endCxn id="200" idx="0"/>
                  </p:cNvCxnSpPr>
                  <p:nvPr/>
                </p:nvCxnSpPr>
                <p:spPr>
                  <a:xfrm flipH="1">
                    <a:off x="5589929" y="1513162"/>
                    <a:ext cx="24498" cy="723593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Straight Connector 216">
                    <a:extLst>
                      <a:ext uri="{FF2B5EF4-FFF2-40B4-BE49-F238E27FC236}">
                        <a16:creationId xmlns:a16="http://schemas.microsoft.com/office/drawing/2014/main" id="{19D4FF19-AE87-4F74-9CD3-B4F7885D5D19}"/>
                      </a:ext>
                    </a:extLst>
                  </p:cNvPr>
                  <p:cNvCxnSpPr>
                    <a:cxnSpLocks/>
                    <a:endCxn id="206" idx="0"/>
                  </p:cNvCxnSpPr>
                  <p:nvPr/>
                </p:nvCxnSpPr>
                <p:spPr>
                  <a:xfrm>
                    <a:off x="4264025" y="1783556"/>
                    <a:ext cx="168275" cy="234897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20" name="Oval 219">
                    <a:extLst>
                      <a:ext uri="{FF2B5EF4-FFF2-40B4-BE49-F238E27FC236}">
                        <a16:creationId xmlns:a16="http://schemas.microsoft.com/office/drawing/2014/main" id="{7B34B97D-5245-4BD3-B891-594D44B8F4A5}"/>
                      </a:ext>
                    </a:extLst>
                  </p:cNvPr>
                  <p:cNvSpPr/>
                  <p:nvPr/>
                </p:nvSpPr>
                <p:spPr>
                  <a:xfrm>
                    <a:off x="4788536" y="868993"/>
                    <a:ext cx="36000" cy="36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/>
                  </a:p>
                </p:txBody>
              </p:sp>
              <p:sp>
                <p:nvSpPr>
                  <p:cNvPr id="222" name="Oval 221">
                    <a:extLst>
                      <a:ext uri="{FF2B5EF4-FFF2-40B4-BE49-F238E27FC236}">
                        <a16:creationId xmlns:a16="http://schemas.microsoft.com/office/drawing/2014/main" id="{030D0D20-636B-4519-BC41-D8E6A4C3DEE9}"/>
                      </a:ext>
                    </a:extLst>
                  </p:cNvPr>
                  <p:cNvSpPr/>
                  <p:nvPr/>
                </p:nvSpPr>
                <p:spPr>
                  <a:xfrm>
                    <a:off x="4625670" y="580619"/>
                    <a:ext cx="36000" cy="36000"/>
                  </a:xfrm>
                  <a:prstGeom prst="ellipse">
                    <a:avLst/>
                  </a:prstGeom>
                  <a:solidFill>
                    <a:srgbClr val="C0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/>
                  </a:p>
                </p:txBody>
              </p:sp>
              <p:grpSp>
                <p:nvGrpSpPr>
                  <p:cNvPr id="321" name="Group 320">
                    <a:extLst>
                      <a:ext uri="{FF2B5EF4-FFF2-40B4-BE49-F238E27FC236}">
                        <a16:creationId xmlns:a16="http://schemas.microsoft.com/office/drawing/2014/main" id="{6B84243C-6610-4DD6-9DA3-CA206E212031}"/>
                      </a:ext>
                    </a:extLst>
                  </p:cNvPr>
                  <p:cNvGrpSpPr/>
                  <p:nvPr/>
                </p:nvGrpSpPr>
                <p:grpSpPr>
                  <a:xfrm>
                    <a:off x="8800249" y="3247791"/>
                    <a:ext cx="322262" cy="321812"/>
                    <a:chOff x="2560582" y="3550257"/>
                    <a:chExt cx="582730" cy="582730"/>
                  </a:xfrm>
                </p:grpSpPr>
                <p:sp>
                  <p:nvSpPr>
                    <p:cNvPr id="322" name="Oval 321">
                      <a:extLst>
                        <a:ext uri="{FF2B5EF4-FFF2-40B4-BE49-F238E27FC236}">
                          <a16:creationId xmlns:a16="http://schemas.microsoft.com/office/drawing/2014/main" id="{4254C589-7541-4FCA-B63B-B1F96E7929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560582" y="3550257"/>
                      <a:ext cx="582730" cy="582730"/>
                    </a:xfrm>
                    <a:prstGeom prst="ellipse">
                      <a:avLst/>
                    </a:prstGeom>
                    <a:solidFill>
                      <a:srgbClr val="93CC00"/>
                    </a:solidFill>
                    <a:ln>
                      <a:noFill/>
                    </a:ln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nb-NO" sz="2400" dirty="0"/>
                    </a:p>
                  </p:txBody>
                </p:sp>
                <p:pic>
                  <p:nvPicPr>
                    <p:cNvPr id="323" name="Grafikk 20" descr="Reise">
                      <a:extLst>
                        <a:ext uri="{FF2B5EF4-FFF2-40B4-BE49-F238E27FC236}">
                          <a16:creationId xmlns:a16="http://schemas.microsoft.com/office/drawing/2014/main" id="{AA5F330D-3289-4707-8FF6-9F81157F826F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8" cstate="print">
                      <a:extLst>
                        <a:ext uri="{28A0092B-C50C-407E-A947-70E740481C1C}">
                          <a14:useLocalDpi xmlns:a14="http://schemas.microsoft.com/office/drawing/2010/main" val="0"/>
                        </a:ext>
                        <a:ext uri="{96DAC541-7B7A-43D3-8B79-37D633B846F1}">
                          <asvg:svgBlip xmlns:asvg="http://schemas.microsoft.com/office/drawing/2016/SVG/main" r:embed="rId9"/>
                        </a:ext>
                      </a:extLst>
                    </a:blip>
                    <a:stretch>
                      <a:fillRect/>
                    </a:stretch>
                  </p:blipFill>
                  <p:spPr>
                    <a:xfrm>
                      <a:off x="2615066" y="3589800"/>
                      <a:ext cx="493524" cy="493524"/>
                    </a:xfrm>
                    <a:prstGeom prst="rect">
                      <a:avLst/>
                    </a:prstGeom>
                  </p:spPr>
                </p:pic>
              </p:grpSp>
            </p:grpSp>
          </p:grpSp>
        </p:grpSp>
        <p:sp>
          <p:nvSpPr>
            <p:cNvPr id="189464" name="Arrow: Striped Right 189463">
              <a:extLst>
                <a:ext uri="{FF2B5EF4-FFF2-40B4-BE49-F238E27FC236}">
                  <a16:creationId xmlns:a16="http://schemas.microsoft.com/office/drawing/2014/main" id="{AC34030E-2257-498B-9B25-997220E61265}"/>
                </a:ext>
              </a:extLst>
            </p:cNvPr>
            <p:cNvSpPr/>
            <p:nvPr/>
          </p:nvSpPr>
          <p:spPr>
            <a:xfrm rot="18730682">
              <a:off x="6827648" y="4018751"/>
              <a:ext cx="301543" cy="257760"/>
            </a:xfrm>
            <a:prstGeom prst="stripedRightArrow">
              <a:avLst>
                <a:gd name="adj1" fmla="val 61388"/>
                <a:gd name="adj2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sp>
          <p:nvSpPr>
            <p:cNvPr id="427" name="Arrow: Striped Right 426">
              <a:extLst>
                <a:ext uri="{FF2B5EF4-FFF2-40B4-BE49-F238E27FC236}">
                  <a16:creationId xmlns:a16="http://schemas.microsoft.com/office/drawing/2014/main" id="{E1880ED6-FBD3-4ABB-9ECB-518A9E944003}"/>
                </a:ext>
              </a:extLst>
            </p:cNvPr>
            <p:cNvSpPr/>
            <p:nvPr/>
          </p:nvSpPr>
          <p:spPr>
            <a:xfrm rot="6542186">
              <a:off x="7464278" y="3092993"/>
              <a:ext cx="301543" cy="257760"/>
            </a:xfrm>
            <a:prstGeom prst="stripedRightArrow">
              <a:avLst>
                <a:gd name="adj1" fmla="val 61388"/>
                <a:gd name="adj2" fmla="val 50000"/>
              </a:avLst>
            </a:prstGeom>
            <a:solidFill>
              <a:schemeClr val="tx2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B765491-BDC2-48B4-8F0B-2CA29798E564}"/>
              </a:ext>
            </a:extLst>
          </p:cNvPr>
          <p:cNvGrpSpPr/>
          <p:nvPr/>
        </p:nvGrpSpPr>
        <p:grpSpPr>
          <a:xfrm>
            <a:off x="8305688" y="1381463"/>
            <a:ext cx="3437545" cy="3041136"/>
            <a:chOff x="6229266" y="1036097"/>
            <a:chExt cx="2578159" cy="2280852"/>
          </a:xfrm>
        </p:grpSpPr>
        <p:sp>
          <p:nvSpPr>
            <p:cNvPr id="371" name="TextBox 370">
              <a:extLst>
                <a:ext uri="{FF2B5EF4-FFF2-40B4-BE49-F238E27FC236}">
                  <a16:creationId xmlns:a16="http://schemas.microsoft.com/office/drawing/2014/main" id="{FCBAF43E-1828-418B-9D33-5E4ED9E13A3A}"/>
                </a:ext>
              </a:extLst>
            </p:cNvPr>
            <p:cNvSpPr txBox="1"/>
            <p:nvPr/>
          </p:nvSpPr>
          <p:spPr>
            <a:xfrm>
              <a:off x="7010251" y="1036097"/>
              <a:ext cx="53354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b-NO" sz="800" dirty="0">
                  <a:latin typeface="Arial" panose="020B0604020202020204" pitchFamily="34" charset="0"/>
                  <a:cs typeface="Arial" panose="020B0604020202020204" pitchFamily="34" charset="0"/>
                </a:rPr>
                <a:t>LAGER-AREAL</a:t>
              </a:r>
              <a:endParaRPr lang="en-GB" sz="8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DCEB52D3-1BEA-459F-A05F-7170A393B515}"/>
                </a:ext>
              </a:extLst>
            </p:cNvPr>
            <p:cNvGrpSpPr/>
            <p:nvPr/>
          </p:nvGrpSpPr>
          <p:grpSpPr>
            <a:xfrm>
              <a:off x="6229266" y="1159385"/>
              <a:ext cx="2578159" cy="2157564"/>
              <a:chOff x="6229266" y="1159385"/>
              <a:chExt cx="2578159" cy="2157564"/>
            </a:xfrm>
          </p:grpSpPr>
          <p:sp>
            <p:nvSpPr>
              <p:cNvPr id="62" name="Rectangle 29">
                <a:extLst>
                  <a:ext uri="{FF2B5EF4-FFF2-40B4-BE49-F238E27FC236}">
                    <a16:creationId xmlns:a16="http://schemas.microsoft.com/office/drawing/2014/main" id="{7E2407BF-6112-4029-8B61-5B5A576019F7}"/>
                  </a:ext>
                </a:extLst>
              </p:cNvPr>
              <p:cNvSpPr/>
              <p:nvPr/>
            </p:nvSpPr>
            <p:spPr>
              <a:xfrm>
                <a:off x="6866574" y="1470507"/>
                <a:ext cx="1940851" cy="1846442"/>
              </a:xfrm>
              <a:custGeom>
                <a:avLst/>
                <a:gdLst>
                  <a:gd name="connsiteX0" fmla="*/ 0 w 681228"/>
                  <a:gd name="connsiteY0" fmla="*/ 0 h 1508760"/>
                  <a:gd name="connsiteX1" fmla="*/ 681228 w 681228"/>
                  <a:gd name="connsiteY1" fmla="*/ 0 h 1508760"/>
                  <a:gd name="connsiteX2" fmla="*/ 681228 w 681228"/>
                  <a:gd name="connsiteY2" fmla="*/ 1508760 h 1508760"/>
                  <a:gd name="connsiteX3" fmla="*/ 0 w 681228"/>
                  <a:gd name="connsiteY3" fmla="*/ 1508760 h 1508760"/>
                  <a:gd name="connsiteX4" fmla="*/ 0 w 681228"/>
                  <a:gd name="connsiteY4" fmla="*/ 0 h 1508760"/>
                  <a:gd name="connsiteX0" fmla="*/ 0 w 766639"/>
                  <a:gd name="connsiteY0" fmla="*/ 0 h 1538905"/>
                  <a:gd name="connsiteX1" fmla="*/ 766639 w 766639"/>
                  <a:gd name="connsiteY1" fmla="*/ 30145 h 1538905"/>
                  <a:gd name="connsiteX2" fmla="*/ 766639 w 766639"/>
                  <a:gd name="connsiteY2" fmla="*/ 1538905 h 1538905"/>
                  <a:gd name="connsiteX3" fmla="*/ 85411 w 766639"/>
                  <a:gd name="connsiteY3" fmla="*/ 1538905 h 1538905"/>
                  <a:gd name="connsiteX4" fmla="*/ 0 w 766639"/>
                  <a:gd name="connsiteY4" fmla="*/ 0 h 1538905"/>
                  <a:gd name="connsiteX0" fmla="*/ 0 w 766639"/>
                  <a:gd name="connsiteY0" fmla="*/ 0 h 1538905"/>
                  <a:gd name="connsiteX1" fmla="*/ 344609 w 766639"/>
                  <a:gd name="connsiteY1" fmla="*/ 50242 h 1538905"/>
                  <a:gd name="connsiteX2" fmla="*/ 766639 w 766639"/>
                  <a:gd name="connsiteY2" fmla="*/ 1538905 h 1538905"/>
                  <a:gd name="connsiteX3" fmla="*/ 85411 w 766639"/>
                  <a:gd name="connsiteY3" fmla="*/ 1538905 h 1538905"/>
                  <a:gd name="connsiteX4" fmla="*/ 0 w 766639"/>
                  <a:gd name="connsiteY4" fmla="*/ 0 h 1538905"/>
                  <a:gd name="connsiteX0" fmla="*/ 0 w 766639"/>
                  <a:gd name="connsiteY0" fmla="*/ 0 h 1538905"/>
                  <a:gd name="connsiteX1" fmla="*/ 344609 w 766639"/>
                  <a:gd name="connsiteY1" fmla="*/ 50242 h 1538905"/>
                  <a:gd name="connsiteX2" fmla="*/ 532061 w 766639"/>
                  <a:gd name="connsiteY2" fmla="*/ 676305 h 1538905"/>
                  <a:gd name="connsiteX3" fmla="*/ 766639 w 766639"/>
                  <a:gd name="connsiteY3" fmla="*/ 1538905 h 1538905"/>
                  <a:gd name="connsiteX4" fmla="*/ 85411 w 766639"/>
                  <a:gd name="connsiteY4" fmla="*/ 1538905 h 1538905"/>
                  <a:gd name="connsiteX5" fmla="*/ 0 w 766639"/>
                  <a:gd name="connsiteY5" fmla="*/ 0 h 1538905"/>
                  <a:gd name="connsiteX0" fmla="*/ 0 w 928971"/>
                  <a:gd name="connsiteY0" fmla="*/ 0 h 1538905"/>
                  <a:gd name="connsiteX1" fmla="*/ 344609 w 928971"/>
                  <a:gd name="connsiteY1" fmla="*/ 50242 h 1538905"/>
                  <a:gd name="connsiteX2" fmla="*/ 928971 w 928971"/>
                  <a:gd name="connsiteY2" fmla="*/ 389927 h 1538905"/>
                  <a:gd name="connsiteX3" fmla="*/ 766639 w 928971"/>
                  <a:gd name="connsiteY3" fmla="*/ 1538905 h 1538905"/>
                  <a:gd name="connsiteX4" fmla="*/ 85411 w 928971"/>
                  <a:gd name="connsiteY4" fmla="*/ 1538905 h 1538905"/>
                  <a:gd name="connsiteX5" fmla="*/ 0 w 928971"/>
                  <a:gd name="connsiteY5" fmla="*/ 0 h 1538905"/>
                  <a:gd name="connsiteX0" fmla="*/ 0 w 928971"/>
                  <a:gd name="connsiteY0" fmla="*/ 0 h 1538905"/>
                  <a:gd name="connsiteX1" fmla="*/ 344609 w 928971"/>
                  <a:gd name="connsiteY1" fmla="*/ 50242 h 1538905"/>
                  <a:gd name="connsiteX2" fmla="*/ 928971 w 928971"/>
                  <a:gd name="connsiteY2" fmla="*/ 389927 h 1538905"/>
                  <a:gd name="connsiteX3" fmla="*/ 646059 w 928971"/>
                  <a:gd name="connsiteY3" fmla="*/ 1227406 h 1538905"/>
                  <a:gd name="connsiteX4" fmla="*/ 85411 w 928971"/>
                  <a:gd name="connsiteY4" fmla="*/ 1538905 h 1538905"/>
                  <a:gd name="connsiteX5" fmla="*/ 0 w 928971"/>
                  <a:gd name="connsiteY5" fmla="*/ 0 h 1538905"/>
                  <a:gd name="connsiteX0" fmla="*/ 0 w 928971"/>
                  <a:gd name="connsiteY0" fmla="*/ 0 h 1453495"/>
                  <a:gd name="connsiteX1" fmla="*/ 344609 w 928971"/>
                  <a:gd name="connsiteY1" fmla="*/ 50242 h 1453495"/>
                  <a:gd name="connsiteX2" fmla="*/ 928971 w 928971"/>
                  <a:gd name="connsiteY2" fmla="*/ 389927 h 1453495"/>
                  <a:gd name="connsiteX3" fmla="*/ 646059 w 928971"/>
                  <a:gd name="connsiteY3" fmla="*/ 1227406 h 1453495"/>
                  <a:gd name="connsiteX4" fmla="*/ 70338 w 928971"/>
                  <a:gd name="connsiteY4" fmla="*/ 1453495 h 1453495"/>
                  <a:gd name="connsiteX5" fmla="*/ 0 w 928971"/>
                  <a:gd name="connsiteY5" fmla="*/ 0 h 1453495"/>
                  <a:gd name="connsiteX0" fmla="*/ 0 w 928971"/>
                  <a:gd name="connsiteY0" fmla="*/ 0 h 1453495"/>
                  <a:gd name="connsiteX1" fmla="*/ 344609 w 928971"/>
                  <a:gd name="connsiteY1" fmla="*/ 50242 h 1453495"/>
                  <a:gd name="connsiteX2" fmla="*/ 928971 w 928971"/>
                  <a:gd name="connsiteY2" fmla="*/ 389927 h 1453495"/>
                  <a:gd name="connsiteX3" fmla="*/ 646059 w 928971"/>
                  <a:gd name="connsiteY3" fmla="*/ 1227406 h 1453495"/>
                  <a:gd name="connsiteX4" fmla="*/ 70338 w 928971"/>
                  <a:gd name="connsiteY4" fmla="*/ 1453495 h 1453495"/>
                  <a:gd name="connsiteX5" fmla="*/ 49740 w 928971"/>
                  <a:gd name="connsiteY5" fmla="*/ 1228965 h 1453495"/>
                  <a:gd name="connsiteX6" fmla="*/ 0 w 928971"/>
                  <a:gd name="connsiteY6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382339 w 1311310"/>
                  <a:gd name="connsiteY6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211016 w 1311310"/>
                  <a:gd name="connsiteY6" fmla="*/ 515532 h 1453495"/>
                  <a:gd name="connsiteX7" fmla="*/ 382339 w 1311310"/>
                  <a:gd name="connsiteY7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382339 w 1311310"/>
                  <a:gd name="connsiteY7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396910 w 1311310"/>
                  <a:gd name="connsiteY7" fmla="*/ 264323 h 1453495"/>
                  <a:gd name="connsiteX8" fmla="*/ 382339 w 1311310"/>
                  <a:gd name="connsiteY8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382339 w 1311310"/>
                  <a:gd name="connsiteY8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507442 w 1311310"/>
                  <a:gd name="connsiteY8" fmla="*/ 329637 h 1453495"/>
                  <a:gd name="connsiteX9" fmla="*/ 382339 w 1311310"/>
                  <a:gd name="connsiteY9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708409 w 1311310"/>
                  <a:gd name="connsiteY8" fmla="*/ 394951 h 1453495"/>
                  <a:gd name="connsiteX9" fmla="*/ 382339 w 1311310"/>
                  <a:gd name="connsiteY9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708409 w 1311310"/>
                  <a:gd name="connsiteY8" fmla="*/ 394951 h 1453495"/>
                  <a:gd name="connsiteX9" fmla="*/ 557684 w 1311310"/>
                  <a:gd name="connsiteY9" fmla="*/ 199009 h 1453495"/>
                  <a:gd name="connsiteX10" fmla="*/ 382339 w 1311310"/>
                  <a:gd name="connsiteY10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708409 w 1311310"/>
                  <a:gd name="connsiteY8" fmla="*/ 394951 h 1453495"/>
                  <a:gd name="connsiteX9" fmla="*/ 517491 w 1311310"/>
                  <a:gd name="connsiteY9" fmla="*/ 324614 h 1453495"/>
                  <a:gd name="connsiteX10" fmla="*/ 382339 w 1311310"/>
                  <a:gd name="connsiteY10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708409 w 1311310"/>
                  <a:gd name="connsiteY8" fmla="*/ 394951 h 1453495"/>
                  <a:gd name="connsiteX9" fmla="*/ 517491 w 1311310"/>
                  <a:gd name="connsiteY9" fmla="*/ 324614 h 1453495"/>
                  <a:gd name="connsiteX10" fmla="*/ 457200 w 1311310"/>
                  <a:gd name="connsiteY10" fmla="*/ 153791 h 1453495"/>
                  <a:gd name="connsiteX11" fmla="*/ 382339 w 1311310"/>
                  <a:gd name="connsiteY11" fmla="*/ 0 h 1453495"/>
                  <a:gd name="connsiteX0" fmla="*/ 382339 w 1311310"/>
                  <a:gd name="connsiteY0" fmla="*/ 0 h 1453495"/>
                  <a:gd name="connsiteX1" fmla="*/ 726948 w 1311310"/>
                  <a:gd name="connsiteY1" fmla="*/ 50242 h 1453495"/>
                  <a:gd name="connsiteX2" fmla="*/ 1311310 w 1311310"/>
                  <a:gd name="connsiteY2" fmla="*/ 389927 h 1453495"/>
                  <a:gd name="connsiteX3" fmla="*/ 1028398 w 1311310"/>
                  <a:gd name="connsiteY3" fmla="*/ 1227406 h 1453495"/>
                  <a:gd name="connsiteX4" fmla="*/ 452677 w 1311310"/>
                  <a:gd name="connsiteY4" fmla="*/ 1453495 h 1453495"/>
                  <a:gd name="connsiteX5" fmla="*/ 0 w 1311310"/>
                  <a:gd name="connsiteY5" fmla="*/ 1249062 h 1453495"/>
                  <a:gd name="connsiteX6" fmla="*/ 411983 w 1311310"/>
                  <a:gd name="connsiteY6" fmla="*/ 565774 h 1453495"/>
                  <a:gd name="connsiteX7" fmla="*/ 638071 w 1311310"/>
                  <a:gd name="connsiteY7" fmla="*/ 656209 h 1453495"/>
                  <a:gd name="connsiteX8" fmla="*/ 708409 w 1311310"/>
                  <a:gd name="connsiteY8" fmla="*/ 394951 h 1453495"/>
                  <a:gd name="connsiteX9" fmla="*/ 517491 w 1311310"/>
                  <a:gd name="connsiteY9" fmla="*/ 324614 h 1453495"/>
                  <a:gd name="connsiteX10" fmla="*/ 497394 w 1311310"/>
                  <a:gd name="connsiteY10" fmla="*/ 199008 h 1453495"/>
                  <a:gd name="connsiteX11" fmla="*/ 382339 w 1311310"/>
                  <a:gd name="connsiteY11" fmla="*/ 0 h 1453495"/>
                  <a:gd name="connsiteX0" fmla="*/ 382339 w 1251020"/>
                  <a:gd name="connsiteY0" fmla="*/ 0 h 1453495"/>
                  <a:gd name="connsiteX1" fmla="*/ 726948 w 1251020"/>
                  <a:gd name="connsiteY1" fmla="*/ 50242 h 1453495"/>
                  <a:gd name="connsiteX2" fmla="*/ 1251020 w 1251020"/>
                  <a:gd name="connsiteY2" fmla="*/ 364806 h 1453495"/>
                  <a:gd name="connsiteX3" fmla="*/ 1028398 w 1251020"/>
                  <a:gd name="connsiteY3" fmla="*/ 1227406 h 1453495"/>
                  <a:gd name="connsiteX4" fmla="*/ 452677 w 1251020"/>
                  <a:gd name="connsiteY4" fmla="*/ 1453495 h 1453495"/>
                  <a:gd name="connsiteX5" fmla="*/ 0 w 1251020"/>
                  <a:gd name="connsiteY5" fmla="*/ 1249062 h 1453495"/>
                  <a:gd name="connsiteX6" fmla="*/ 411983 w 1251020"/>
                  <a:gd name="connsiteY6" fmla="*/ 565774 h 1453495"/>
                  <a:gd name="connsiteX7" fmla="*/ 638071 w 1251020"/>
                  <a:gd name="connsiteY7" fmla="*/ 656209 h 1453495"/>
                  <a:gd name="connsiteX8" fmla="*/ 708409 w 1251020"/>
                  <a:gd name="connsiteY8" fmla="*/ 394951 h 1453495"/>
                  <a:gd name="connsiteX9" fmla="*/ 517491 w 1251020"/>
                  <a:gd name="connsiteY9" fmla="*/ 324614 h 1453495"/>
                  <a:gd name="connsiteX10" fmla="*/ 497394 w 1251020"/>
                  <a:gd name="connsiteY10" fmla="*/ 199008 h 1453495"/>
                  <a:gd name="connsiteX11" fmla="*/ 382339 w 1251020"/>
                  <a:gd name="connsiteY11" fmla="*/ 0 h 1453495"/>
                  <a:gd name="connsiteX0" fmla="*/ 382339 w 1251020"/>
                  <a:gd name="connsiteY0" fmla="*/ 0 h 1453495"/>
                  <a:gd name="connsiteX1" fmla="*/ 726948 w 1251020"/>
                  <a:gd name="connsiteY1" fmla="*/ 50242 h 1453495"/>
                  <a:gd name="connsiteX2" fmla="*/ 1251020 w 1251020"/>
                  <a:gd name="connsiteY2" fmla="*/ 364806 h 1453495"/>
                  <a:gd name="connsiteX3" fmla="*/ 1028398 w 1251020"/>
                  <a:gd name="connsiteY3" fmla="*/ 1227406 h 1453495"/>
                  <a:gd name="connsiteX4" fmla="*/ 452677 w 1251020"/>
                  <a:gd name="connsiteY4" fmla="*/ 1453495 h 1453495"/>
                  <a:gd name="connsiteX5" fmla="*/ 0 w 1251020"/>
                  <a:gd name="connsiteY5" fmla="*/ 1249062 h 1453495"/>
                  <a:gd name="connsiteX6" fmla="*/ 291402 w 1251020"/>
                  <a:gd name="connsiteY6" fmla="*/ 761716 h 1453495"/>
                  <a:gd name="connsiteX7" fmla="*/ 411983 w 1251020"/>
                  <a:gd name="connsiteY7" fmla="*/ 565774 h 1453495"/>
                  <a:gd name="connsiteX8" fmla="*/ 638071 w 1251020"/>
                  <a:gd name="connsiteY8" fmla="*/ 656209 h 1453495"/>
                  <a:gd name="connsiteX9" fmla="*/ 708409 w 1251020"/>
                  <a:gd name="connsiteY9" fmla="*/ 394951 h 1453495"/>
                  <a:gd name="connsiteX10" fmla="*/ 517491 w 1251020"/>
                  <a:gd name="connsiteY10" fmla="*/ 324614 h 1453495"/>
                  <a:gd name="connsiteX11" fmla="*/ 497394 w 1251020"/>
                  <a:gd name="connsiteY11" fmla="*/ 199008 h 1453495"/>
                  <a:gd name="connsiteX12" fmla="*/ 382339 w 1251020"/>
                  <a:gd name="connsiteY12" fmla="*/ 0 h 1453495"/>
                  <a:gd name="connsiteX0" fmla="*/ 382339 w 1251020"/>
                  <a:gd name="connsiteY0" fmla="*/ 0 h 1453495"/>
                  <a:gd name="connsiteX1" fmla="*/ 726948 w 1251020"/>
                  <a:gd name="connsiteY1" fmla="*/ 50242 h 1453495"/>
                  <a:gd name="connsiteX2" fmla="*/ 1251020 w 1251020"/>
                  <a:gd name="connsiteY2" fmla="*/ 364806 h 1453495"/>
                  <a:gd name="connsiteX3" fmla="*/ 1028398 w 1251020"/>
                  <a:gd name="connsiteY3" fmla="*/ 1227406 h 1453495"/>
                  <a:gd name="connsiteX4" fmla="*/ 452677 w 1251020"/>
                  <a:gd name="connsiteY4" fmla="*/ 1453495 h 1453495"/>
                  <a:gd name="connsiteX5" fmla="*/ 0 w 1251020"/>
                  <a:gd name="connsiteY5" fmla="*/ 1249062 h 1453495"/>
                  <a:gd name="connsiteX6" fmla="*/ 155750 w 1251020"/>
                  <a:gd name="connsiteY6" fmla="*/ 852151 h 1453495"/>
                  <a:gd name="connsiteX7" fmla="*/ 411983 w 1251020"/>
                  <a:gd name="connsiteY7" fmla="*/ 565774 h 1453495"/>
                  <a:gd name="connsiteX8" fmla="*/ 638071 w 1251020"/>
                  <a:gd name="connsiteY8" fmla="*/ 656209 h 1453495"/>
                  <a:gd name="connsiteX9" fmla="*/ 708409 w 1251020"/>
                  <a:gd name="connsiteY9" fmla="*/ 394951 h 1453495"/>
                  <a:gd name="connsiteX10" fmla="*/ 517491 w 1251020"/>
                  <a:gd name="connsiteY10" fmla="*/ 324614 h 1453495"/>
                  <a:gd name="connsiteX11" fmla="*/ 497394 w 1251020"/>
                  <a:gd name="connsiteY11" fmla="*/ 199008 h 1453495"/>
                  <a:gd name="connsiteX12" fmla="*/ 382339 w 1251020"/>
                  <a:gd name="connsiteY12" fmla="*/ 0 h 1453495"/>
                  <a:gd name="connsiteX0" fmla="*/ 377315 w 1245996"/>
                  <a:gd name="connsiteY0" fmla="*/ 0 h 1453495"/>
                  <a:gd name="connsiteX1" fmla="*/ 721924 w 1245996"/>
                  <a:gd name="connsiteY1" fmla="*/ 50242 h 1453495"/>
                  <a:gd name="connsiteX2" fmla="*/ 1245996 w 1245996"/>
                  <a:gd name="connsiteY2" fmla="*/ 364806 h 1453495"/>
                  <a:gd name="connsiteX3" fmla="*/ 1023374 w 1245996"/>
                  <a:gd name="connsiteY3" fmla="*/ 1227406 h 1453495"/>
                  <a:gd name="connsiteX4" fmla="*/ 447653 w 1245996"/>
                  <a:gd name="connsiteY4" fmla="*/ 1453495 h 1453495"/>
                  <a:gd name="connsiteX5" fmla="*/ 0 w 1245996"/>
                  <a:gd name="connsiteY5" fmla="*/ 1279207 h 1453495"/>
                  <a:gd name="connsiteX6" fmla="*/ 150726 w 1245996"/>
                  <a:gd name="connsiteY6" fmla="*/ 852151 h 1453495"/>
                  <a:gd name="connsiteX7" fmla="*/ 406959 w 1245996"/>
                  <a:gd name="connsiteY7" fmla="*/ 565774 h 1453495"/>
                  <a:gd name="connsiteX8" fmla="*/ 633047 w 1245996"/>
                  <a:gd name="connsiteY8" fmla="*/ 656209 h 1453495"/>
                  <a:gd name="connsiteX9" fmla="*/ 703385 w 1245996"/>
                  <a:gd name="connsiteY9" fmla="*/ 394951 h 1453495"/>
                  <a:gd name="connsiteX10" fmla="*/ 512467 w 1245996"/>
                  <a:gd name="connsiteY10" fmla="*/ 324614 h 1453495"/>
                  <a:gd name="connsiteX11" fmla="*/ 492370 w 1245996"/>
                  <a:gd name="connsiteY11" fmla="*/ 199008 h 1453495"/>
                  <a:gd name="connsiteX12" fmla="*/ 377315 w 1245996"/>
                  <a:gd name="connsiteY12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048495 w 1271117"/>
                  <a:gd name="connsiteY3" fmla="*/ 1227406 h 1453495"/>
                  <a:gd name="connsiteX4" fmla="*/ 472774 w 1271117"/>
                  <a:gd name="connsiteY4" fmla="*/ 1453495 h 1453495"/>
                  <a:gd name="connsiteX5" fmla="*/ 0 w 1271117"/>
                  <a:gd name="connsiteY5" fmla="*/ 1264134 h 1453495"/>
                  <a:gd name="connsiteX6" fmla="*/ 175847 w 1271117"/>
                  <a:gd name="connsiteY6" fmla="*/ 852151 h 1453495"/>
                  <a:gd name="connsiteX7" fmla="*/ 432080 w 1271117"/>
                  <a:gd name="connsiteY7" fmla="*/ 565774 h 1453495"/>
                  <a:gd name="connsiteX8" fmla="*/ 658168 w 1271117"/>
                  <a:gd name="connsiteY8" fmla="*/ 656209 h 1453495"/>
                  <a:gd name="connsiteX9" fmla="*/ 728506 w 1271117"/>
                  <a:gd name="connsiteY9" fmla="*/ 394951 h 1453495"/>
                  <a:gd name="connsiteX10" fmla="*/ 537588 w 1271117"/>
                  <a:gd name="connsiteY10" fmla="*/ 324614 h 1453495"/>
                  <a:gd name="connsiteX11" fmla="*/ 517491 w 1271117"/>
                  <a:gd name="connsiteY11" fmla="*/ 199008 h 1453495"/>
                  <a:gd name="connsiteX12" fmla="*/ 402436 w 1271117"/>
                  <a:gd name="connsiteY12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40489 w 1271117"/>
                  <a:gd name="connsiteY3" fmla="*/ 832055 h 1453495"/>
                  <a:gd name="connsiteX4" fmla="*/ 1048495 w 1271117"/>
                  <a:gd name="connsiteY4" fmla="*/ 1227406 h 1453495"/>
                  <a:gd name="connsiteX5" fmla="*/ 472774 w 1271117"/>
                  <a:gd name="connsiteY5" fmla="*/ 1453495 h 1453495"/>
                  <a:gd name="connsiteX6" fmla="*/ 0 w 1271117"/>
                  <a:gd name="connsiteY6" fmla="*/ 1264134 h 1453495"/>
                  <a:gd name="connsiteX7" fmla="*/ 175847 w 1271117"/>
                  <a:gd name="connsiteY7" fmla="*/ 852151 h 1453495"/>
                  <a:gd name="connsiteX8" fmla="*/ 432080 w 1271117"/>
                  <a:gd name="connsiteY8" fmla="*/ 565774 h 1453495"/>
                  <a:gd name="connsiteX9" fmla="*/ 658168 w 1271117"/>
                  <a:gd name="connsiteY9" fmla="*/ 656209 h 1453495"/>
                  <a:gd name="connsiteX10" fmla="*/ 728506 w 1271117"/>
                  <a:gd name="connsiteY10" fmla="*/ 394951 h 1453495"/>
                  <a:gd name="connsiteX11" fmla="*/ 537588 w 1271117"/>
                  <a:gd name="connsiteY11" fmla="*/ 324614 h 1453495"/>
                  <a:gd name="connsiteX12" fmla="*/ 517491 w 1271117"/>
                  <a:gd name="connsiteY12" fmla="*/ 199008 h 1453495"/>
                  <a:gd name="connsiteX13" fmla="*/ 402436 w 1271117"/>
                  <a:gd name="connsiteY13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048495 w 1271117"/>
                  <a:gd name="connsiteY4" fmla="*/ 1227406 h 1453495"/>
                  <a:gd name="connsiteX5" fmla="*/ 472774 w 1271117"/>
                  <a:gd name="connsiteY5" fmla="*/ 1453495 h 1453495"/>
                  <a:gd name="connsiteX6" fmla="*/ 0 w 1271117"/>
                  <a:gd name="connsiteY6" fmla="*/ 1264134 h 1453495"/>
                  <a:gd name="connsiteX7" fmla="*/ 175847 w 1271117"/>
                  <a:gd name="connsiteY7" fmla="*/ 852151 h 1453495"/>
                  <a:gd name="connsiteX8" fmla="*/ 432080 w 1271117"/>
                  <a:gd name="connsiteY8" fmla="*/ 565774 h 1453495"/>
                  <a:gd name="connsiteX9" fmla="*/ 658168 w 1271117"/>
                  <a:gd name="connsiteY9" fmla="*/ 656209 h 1453495"/>
                  <a:gd name="connsiteX10" fmla="*/ 728506 w 1271117"/>
                  <a:gd name="connsiteY10" fmla="*/ 394951 h 1453495"/>
                  <a:gd name="connsiteX11" fmla="*/ 537588 w 1271117"/>
                  <a:gd name="connsiteY11" fmla="*/ 324614 h 1453495"/>
                  <a:gd name="connsiteX12" fmla="*/ 517491 w 1271117"/>
                  <a:gd name="connsiteY12" fmla="*/ 199008 h 1453495"/>
                  <a:gd name="connsiteX13" fmla="*/ 402436 w 1271117"/>
                  <a:gd name="connsiteY13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169075 w 1271117"/>
                  <a:gd name="connsiteY4" fmla="*/ 790302 h 1453495"/>
                  <a:gd name="connsiteX5" fmla="*/ 472774 w 1271117"/>
                  <a:gd name="connsiteY5" fmla="*/ 1453495 h 1453495"/>
                  <a:gd name="connsiteX6" fmla="*/ 0 w 1271117"/>
                  <a:gd name="connsiteY6" fmla="*/ 1264134 h 1453495"/>
                  <a:gd name="connsiteX7" fmla="*/ 175847 w 1271117"/>
                  <a:gd name="connsiteY7" fmla="*/ 852151 h 1453495"/>
                  <a:gd name="connsiteX8" fmla="*/ 432080 w 1271117"/>
                  <a:gd name="connsiteY8" fmla="*/ 565774 h 1453495"/>
                  <a:gd name="connsiteX9" fmla="*/ 658168 w 1271117"/>
                  <a:gd name="connsiteY9" fmla="*/ 656209 h 1453495"/>
                  <a:gd name="connsiteX10" fmla="*/ 728506 w 1271117"/>
                  <a:gd name="connsiteY10" fmla="*/ 394951 h 1453495"/>
                  <a:gd name="connsiteX11" fmla="*/ 537588 w 1271117"/>
                  <a:gd name="connsiteY11" fmla="*/ 324614 h 1453495"/>
                  <a:gd name="connsiteX12" fmla="*/ 517491 w 1271117"/>
                  <a:gd name="connsiteY12" fmla="*/ 199008 h 1453495"/>
                  <a:gd name="connsiteX13" fmla="*/ 402436 w 1271117"/>
                  <a:gd name="connsiteY13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169075 w 1271117"/>
                  <a:gd name="connsiteY4" fmla="*/ 790302 h 1453495"/>
                  <a:gd name="connsiteX5" fmla="*/ 1045030 w 1271117"/>
                  <a:gd name="connsiteY5" fmla="*/ 902393 h 1453495"/>
                  <a:gd name="connsiteX6" fmla="*/ 472774 w 1271117"/>
                  <a:gd name="connsiteY6" fmla="*/ 1453495 h 1453495"/>
                  <a:gd name="connsiteX7" fmla="*/ 0 w 1271117"/>
                  <a:gd name="connsiteY7" fmla="*/ 1264134 h 1453495"/>
                  <a:gd name="connsiteX8" fmla="*/ 175847 w 1271117"/>
                  <a:gd name="connsiteY8" fmla="*/ 852151 h 1453495"/>
                  <a:gd name="connsiteX9" fmla="*/ 432080 w 1271117"/>
                  <a:gd name="connsiteY9" fmla="*/ 565774 h 1453495"/>
                  <a:gd name="connsiteX10" fmla="*/ 658168 w 1271117"/>
                  <a:gd name="connsiteY10" fmla="*/ 656209 h 1453495"/>
                  <a:gd name="connsiteX11" fmla="*/ 728506 w 1271117"/>
                  <a:gd name="connsiteY11" fmla="*/ 394951 h 1453495"/>
                  <a:gd name="connsiteX12" fmla="*/ 537588 w 1271117"/>
                  <a:gd name="connsiteY12" fmla="*/ 324614 h 1453495"/>
                  <a:gd name="connsiteX13" fmla="*/ 517491 w 1271117"/>
                  <a:gd name="connsiteY13" fmla="*/ 199008 h 1453495"/>
                  <a:gd name="connsiteX14" fmla="*/ 402436 w 1271117"/>
                  <a:gd name="connsiteY14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169075 w 1271117"/>
                  <a:gd name="connsiteY4" fmla="*/ 790302 h 1453495"/>
                  <a:gd name="connsiteX5" fmla="*/ 1145514 w 1271117"/>
                  <a:gd name="connsiteY5" fmla="*/ 1183747 h 1453495"/>
                  <a:gd name="connsiteX6" fmla="*/ 472774 w 1271117"/>
                  <a:gd name="connsiteY6" fmla="*/ 1453495 h 1453495"/>
                  <a:gd name="connsiteX7" fmla="*/ 0 w 1271117"/>
                  <a:gd name="connsiteY7" fmla="*/ 1264134 h 1453495"/>
                  <a:gd name="connsiteX8" fmla="*/ 175847 w 1271117"/>
                  <a:gd name="connsiteY8" fmla="*/ 852151 h 1453495"/>
                  <a:gd name="connsiteX9" fmla="*/ 432080 w 1271117"/>
                  <a:gd name="connsiteY9" fmla="*/ 565774 h 1453495"/>
                  <a:gd name="connsiteX10" fmla="*/ 658168 w 1271117"/>
                  <a:gd name="connsiteY10" fmla="*/ 656209 h 1453495"/>
                  <a:gd name="connsiteX11" fmla="*/ 728506 w 1271117"/>
                  <a:gd name="connsiteY11" fmla="*/ 394951 h 1453495"/>
                  <a:gd name="connsiteX12" fmla="*/ 537588 w 1271117"/>
                  <a:gd name="connsiteY12" fmla="*/ 324614 h 1453495"/>
                  <a:gd name="connsiteX13" fmla="*/ 517491 w 1271117"/>
                  <a:gd name="connsiteY13" fmla="*/ 199008 h 1453495"/>
                  <a:gd name="connsiteX14" fmla="*/ 402436 w 1271117"/>
                  <a:gd name="connsiteY14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169075 w 1271117"/>
                  <a:gd name="connsiteY4" fmla="*/ 790302 h 1453495"/>
                  <a:gd name="connsiteX5" fmla="*/ 1145514 w 1271117"/>
                  <a:gd name="connsiteY5" fmla="*/ 1183747 h 1453495"/>
                  <a:gd name="connsiteX6" fmla="*/ 994788 w 1271117"/>
                  <a:gd name="connsiteY6" fmla="*/ 1244037 h 1453495"/>
                  <a:gd name="connsiteX7" fmla="*/ 472774 w 1271117"/>
                  <a:gd name="connsiteY7" fmla="*/ 1453495 h 1453495"/>
                  <a:gd name="connsiteX8" fmla="*/ 0 w 1271117"/>
                  <a:gd name="connsiteY8" fmla="*/ 1264134 h 1453495"/>
                  <a:gd name="connsiteX9" fmla="*/ 175847 w 1271117"/>
                  <a:gd name="connsiteY9" fmla="*/ 852151 h 1453495"/>
                  <a:gd name="connsiteX10" fmla="*/ 432080 w 1271117"/>
                  <a:gd name="connsiteY10" fmla="*/ 565774 h 1453495"/>
                  <a:gd name="connsiteX11" fmla="*/ 658168 w 1271117"/>
                  <a:gd name="connsiteY11" fmla="*/ 656209 h 1453495"/>
                  <a:gd name="connsiteX12" fmla="*/ 728506 w 1271117"/>
                  <a:gd name="connsiteY12" fmla="*/ 394951 h 1453495"/>
                  <a:gd name="connsiteX13" fmla="*/ 537588 w 1271117"/>
                  <a:gd name="connsiteY13" fmla="*/ 324614 h 1453495"/>
                  <a:gd name="connsiteX14" fmla="*/ 517491 w 1271117"/>
                  <a:gd name="connsiteY14" fmla="*/ 199008 h 1453495"/>
                  <a:gd name="connsiteX15" fmla="*/ 402436 w 1271117"/>
                  <a:gd name="connsiteY15" fmla="*/ 0 h 1453495"/>
                  <a:gd name="connsiteX0" fmla="*/ 402436 w 1271117"/>
                  <a:gd name="connsiteY0" fmla="*/ 0 h 1453495"/>
                  <a:gd name="connsiteX1" fmla="*/ 747045 w 1271117"/>
                  <a:gd name="connsiteY1" fmla="*/ 50242 h 1453495"/>
                  <a:gd name="connsiteX2" fmla="*/ 1271117 w 1271117"/>
                  <a:gd name="connsiteY2" fmla="*/ 364806 h 1453495"/>
                  <a:gd name="connsiteX3" fmla="*/ 1130441 w 1271117"/>
                  <a:gd name="connsiteY3" fmla="*/ 641136 h 1453495"/>
                  <a:gd name="connsiteX4" fmla="*/ 1169075 w 1271117"/>
                  <a:gd name="connsiteY4" fmla="*/ 790302 h 1453495"/>
                  <a:gd name="connsiteX5" fmla="*/ 1145514 w 1271117"/>
                  <a:gd name="connsiteY5" fmla="*/ 1183747 h 1453495"/>
                  <a:gd name="connsiteX6" fmla="*/ 899329 w 1271117"/>
                  <a:gd name="connsiteY6" fmla="*/ 1334473 h 1453495"/>
                  <a:gd name="connsiteX7" fmla="*/ 472774 w 1271117"/>
                  <a:gd name="connsiteY7" fmla="*/ 1453495 h 1453495"/>
                  <a:gd name="connsiteX8" fmla="*/ 0 w 1271117"/>
                  <a:gd name="connsiteY8" fmla="*/ 1264134 h 1453495"/>
                  <a:gd name="connsiteX9" fmla="*/ 175847 w 1271117"/>
                  <a:gd name="connsiteY9" fmla="*/ 852151 h 1453495"/>
                  <a:gd name="connsiteX10" fmla="*/ 432080 w 1271117"/>
                  <a:gd name="connsiteY10" fmla="*/ 565774 h 1453495"/>
                  <a:gd name="connsiteX11" fmla="*/ 658168 w 1271117"/>
                  <a:gd name="connsiteY11" fmla="*/ 656209 h 1453495"/>
                  <a:gd name="connsiteX12" fmla="*/ 728506 w 1271117"/>
                  <a:gd name="connsiteY12" fmla="*/ 394951 h 1453495"/>
                  <a:gd name="connsiteX13" fmla="*/ 537588 w 1271117"/>
                  <a:gd name="connsiteY13" fmla="*/ 324614 h 1453495"/>
                  <a:gd name="connsiteX14" fmla="*/ 517491 w 1271117"/>
                  <a:gd name="connsiteY14" fmla="*/ 199008 h 1453495"/>
                  <a:gd name="connsiteX15" fmla="*/ 402436 w 1271117"/>
                  <a:gd name="connsiteY15" fmla="*/ 0 h 1453495"/>
                  <a:gd name="connsiteX0" fmla="*/ 402436 w 1751947"/>
                  <a:gd name="connsiteY0" fmla="*/ 0 h 1453495"/>
                  <a:gd name="connsiteX1" fmla="*/ 747045 w 1751947"/>
                  <a:gd name="connsiteY1" fmla="*/ 50242 h 1453495"/>
                  <a:gd name="connsiteX2" fmla="*/ 1271117 w 1751947"/>
                  <a:gd name="connsiteY2" fmla="*/ 364806 h 1453495"/>
                  <a:gd name="connsiteX3" fmla="*/ 1751947 w 1751947"/>
                  <a:gd name="connsiteY3" fmla="*/ 660186 h 1453495"/>
                  <a:gd name="connsiteX4" fmla="*/ 1169075 w 1751947"/>
                  <a:gd name="connsiteY4" fmla="*/ 790302 h 1453495"/>
                  <a:gd name="connsiteX5" fmla="*/ 1145514 w 1751947"/>
                  <a:gd name="connsiteY5" fmla="*/ 1183747 h 1453495"/>
                  <a:gd name="connsiteX6" fmla="*/ 899329 w 1751947"/>
                  <a:gd name="connsiteY6" fmla="*/ 1334473 h 1453495"/>
                  <a:gd name="connsiteX7" fmla="*/ 472774 w 1751947"/>
                  <a:gd name="connsiteY7" fmla="*/ 1453495 h 1453495"/>
                  <a:gd name="connsiteX8" fmla="*/ 0 w 1751947"/>
                  <a:gd name="connsiteY8" fmla="*/ 1264134 h 1453495"/>
                  <a:gd name="connsiteX9" fmla="*/ 175847 w 1751947"/>
                  <a:gd name="connsiteY9" fmla="*/ 852151 h 1453495"/>
                  <a:gd name="connsiteX10" fmla="*/ 432080 w 1751947"/>
                  <a:gd name="connsiteY10" fmla="*/ 565774 h 1453495"/>
                  <a:gd name="connsiteX11" fmla="*/ 658168 w 1751947"/>
                  <a:gd name="connsiteY11" fmla="*/ 656209 h 1453495"/>
                  <a:gd name="connsiteX12" fmla="*/ 728506 w 1751947"/>
                  <a:gd name="connsiteY12" fmla="*/ 394951 h 1453495"/>
                  <a:gd name="connsiteX13" fmla="*/ 537588 w 1751947"/>
                  <a:gd name="connsiteY13" fmla="*/ 324614 h 1453495"/>
                  <a:gd name="connsiteX14" fmla="*/ 517491 w 1751947"/>
                  <a:gd name="connsiteY14" fmla="*/ 199008 h 1453495"/>
                  <a:gd name="connsiteX15" fmla="*/ 402436 w 1751947"/>
                  <a:gd name="connsiteY15" fmla="*/ 0 h 1453495"/>
                  <a:gd name="connsiteX0" fmla="*/ 402436 w 1859638"/>
                  <a:gd name="connsiteY0" fmla="*/ 0 h 1453495"/>
                  <a:gd name="connsiteX1" fmla="*/ 747045 w 1859638"/>
                  <a:gd name="connsiteY1" fmla="*/ 50242 h 1453495"/>
                  <a:gd name="connsiteX2" fmla="*/ 1271117 w 1859638"/>
                  <a:gd name="connsiteY2" fmla="*/ 364806 h 1453495"/>
                  <a:gd name="connsiteX3" fmla="*/ 1751947 w 1859638"/>
                  <a:gd name="connsiteY3" fmla="*/ 660186 h 1453495"/>
                  <a:gd name="connsiteX4" fmla="*/ 1859638 w 1859638"/>
                  <a:gd name="connsiteY4" fmla="*/ 790302 h 1453495"/>
                  <a:gd name="connsiteX5" fmla="*/ 1145514 w 1859638"/>
                  <a:gd name="connsiteY5" fmla="*/ 1183747 h 1453495"/>
                  <a:gd name="connsiteX6" fmla="*/ 899329 w 1859638"/>
                  <a:gd name="connsiteY6" fmla="*/ 1334473 h 1453495"/>
                  <a:gd name="connsiteX7" fmla="*/ 472774 w 1859638"/>
                  <a:gd name="connsiteY7" fmla="*/ 1453495 h 1453495"/>
                  <a:gd name="connsiteX8" fmla="*/ 0 w 1859638"/>
                  <a:gd name="connsiteY8" fmla="*/ 1264134 h 1453495"/>
                  <a:gd name="connsiteX9" fmla="*/ 175847 w 1859638"/>
                  <a:gd name="connsiteY9" fmla="*/ 852151 h 1453495"/>
                  <a:gd name="connsiteX10" fmla="*/ 432080 w 1859638"/>
                  <a:gd name="connsiteY10" fmla="*/ 565774 h 1453495"/>
                  <a:gd name="connsiteX11" fmla="*/ 658168 w 1859638"/>
                  <a:gd name="connsiteY11" fmla="*/ 656209 h 1453495"/>
                  <a:gd name="connsiteX12" fmla="*/ 728506 w 1859638"/>
                  <a:gd name="connsiteY12" fmla="*/ 394951 h 1453495"/>
                  <a:gd name="connsiteX13" fmla="*/ 537588 w 1859638"/>
                  <a:gd name="connsiteY13" fmla="*/ 324614 h 1453495"/>
                  <a:gd name="connsiteX14" fmla="*/ 517491 w 1859638"/>
                  <a:gd name="connsiteY14" fmla="*/ 199008 h 1453495"/>
                  <a:gd name="connsiteX15" fmla="*/ 402436 w 1859638"/>
                  <a:gd name="connsiteY15" fmla="*/ 0 h 1453495"/>
                  <a:gd name="connsiteX0" fmla="*/ 402436 w 1859638"/>
                  <a:gd name="connsiteY0" fmla="*/ 0 h 1453495"/>
                  <a:gd name="connsiteX1" fmla="*/ 747045 w 1859638"/>
                  <a:gd name="connsiteY1" fmla="*/ 50242 h 1453495"/>
                  <a:gd name="connsiteX2" fmla="*/ 1271117 w 1859638"/>
                  <a:gd name="connsiteY2" fmla="*/ 364806 h 1453495"/>
                  <a:gd name="connsiteX3" fmla="*/ 1751947 w 1859638"/>
                  <a:gd name="connsiteY3" fmla="*/ 660186 h 1453495"/>
                  <a:gd name="connsiteX4" fmla="*/ 1859638 w 1859638"/>
                  <a:gd name="connsiteY4" fmla="*/ 790302 h 1453495"/>
                  <a:gd name="connsiteX5" fmla="*/ 1428907 w 1859638"/>
                  <a:gd name="connsiteY5" fmla="*/ 1022663 h 1453495"/>
                  <a:gd name="connsiteX6" fmla="*/ 1145514 w 1859638"/>
                  <a:gd name="connsiteY6" fmla="*/ 1183747 h 1453495"/>
                  <a:gd name="connsiteX7" fmla="*/ 899329 w 1859638"/>
                  <a:gd name="connsiteY7" fmla="*/ 1334473 h 1453495"/>
                  <a:gd name="connsiteX8" fmla="*/ 472774 w 1859638"/>
                  <a:gd name="connsiteY8" fmla="*/ 1453495 h 1453495"/>
                  <a:gd name="connsiteX9" fmla="*/ 0 w 1859638"/>
                  <a:gd name="connsiteY9" fmla="*/ 1264134 h 1453495"/>
                  <a:gd name="connsiteX10" fmla="*/ 175847 w 1859638"/>
                  <a:gd name="connsiteY10" fmla="*/ 852151 h 1453495"/>
                  <a:gd name="connsiteX11" fmla="*/ 432080 w 1859638"/>
                  <a:gd name="connsiteY11" fmla="*/ 565774 h 1453495"/>
                  <a:gd name="connsiteX12" fmla="*/ 658168 w 1859638"/>
                  <a:gd name="connsiteY12" fmla="*/ 656209 h 1453495"/>
                  <a:gd name="connsiteX13" fmla="*/ 728506 w 1859638"/>
                  <a:gd name="connsiteY13" fmla="*/ 394951 h 1453495"/>
                  <a:gd name="connsiteX14" fmla="*/ 537588 w 1859638"/>
                  <a:gd name="connsiteY14" fmla="*/ 324614 h 1453495"/>
                  <a:gd name="connsiteX15" fmla="*/ 517491 w 1859638"/>
                  <a:gd name="connsiteY15" fmla="*/ 199008 h 1453495"/>
                  <a:gd name="connsiteX16" fmla="*/ 402436 w 1859638"/>
                  <a:gd name="connsiteY16" fmla="*/ 0 h 1453495"/>
                  <a:gd name="connsiteX0" fmla="*/ 402436 w 1919445"/>
                  <a:gd name="connsiteY0" fmla="*/ 0 h 1453495"/>
                  <a:gd name="connsiteX1" fmla="*/ 747045 w 1919445"/>
                  <a:gd name="connsiteY1" fmla="*/ 50242 h 1453495"/>
                  <a:gd name="connsiteX2" fmla="*/ 1271117 w 1919445"/>
                  <a:gd name="connsiteY2" fmla="*/ 364806 h 1453495"/>
                  <a:gd name="connsiteX3" fmla="*/ 1751947 w 1919445"/>
                  <a:gd name="connsiteY3" fmla="*/ 660186 h 1453495"/>
                  <a:gd name="connsiteX4" fmla="*/ 1859638 w 1919445"/>
                  <a:gd name="connsiteY4" fmla="*/ 790302 h 1453495"/>
                  <a:gd name="connsiteX5" fmla="*/ 1919445 w 1919445"/>
                  <a:gd name="connsiteY5" fmla="*/ 934557 h 1453495"/>
                  <a:gd name="connsiteX6" fmla="*/ 1145514 w 1919445"/>
                  <a:gd name="connsiteY6" fmla="*/ 1183747 h 1453495"/>
                  <a:gd name="connsiteX7" fmla="*/ 899329 w 1919445"/>
                  <a:gd name="connsiteY7" fmla="*/ 1334473 h 1453495"/>
                  <a:gd name="connsiteX8" fmla="*/ 472774 w 1919445"/>
                  <a:gd name="connsiteY8" fmla="*/ 1453495 h 1453495"/>
                  <a:gd name="connsiteX9" fmla="*/ 0 w 1919445"/>
                  <a:gd name="connsiteY9" fmla="*/ 1264134 h 1453495"/>
                  <a:gd name="connsiteX10" fmla="*/ 175847 w 1919445"/>
                  <a:gd name="connsiteY10" fmla="*/ 852151 h 1453495"/>
                  <a:gd name="connsiteX11" fmla="*/ 432080 w 1919445"/>
                  <a:gd name="connsiteY11" fmla="*/ 565774 h 1453495"/>
                  <a:gd name="connsiteX12" fmla="*/ 658168 w 1919445"/>
                  <a:gd name="connsiteY12" fmla="*/ 656209 h 1453495"/>
                  <a:gd name="connsiteX13" fmla="*/ 728506 w 1919445"/>
                  <a:gd name="connsiteY13" fmla="*/ 394951 h 1453495"/>
                  <a:gd name="connsiteX14" fmla="*/ 537588 w 1919445"/>
                  <a:gd name="connsiteY14" fmla="*/ 324614 h 1453495"/>
                  <a:gd name="connsiteX15" fmla="*/ 517491 w 1919445"/>
                  <a:gd name="connsiteY15" fmla="*/ 199008 h 1453495"/>
                  <a:gd name="connsiteX16" fmla="*/ 402436 w 1919445"/>
                  <a:gd name="connsiteY16" fmla="*/ 0 h 1453495"/>
                  <a:gd name="connsiteX0" fmla="*/ 402436 w 1940851"/>
                  <a:gd name="connsiteY0" fmla="*/ 0 h 1453495"/>
                  <a:gd name="connsiteX1" fmla="*/ 747045 w 1940851"/>
                  <a:gd name="connsiteY1" fmla="*/ 50242 h 1453495"/>
                  <a:gd name="connsiteX2" fmla="*/ 1271117 w 1940851"/>
                  <a:gd name="connsiteY2" fmla="*/ 364806 h 1453495"/>
                  <a:gd name="connsiteX3" fmla="*/ 1751947 w 1940851"/>
                  <a:gd name="connsiteY3" fmla="*/ 660186 h 1453495"/>
                  <a:gd name="connsiteX4" fmla="*/ 1859638 w 1940851"/>
                  <a:gd name="connsiteY4" fmla="*/ 790302 h 1453495"/>
                  <a:gd name="connsiteX5" fmla="*/ 1919445 w 1940851"/>
                  <a:gd name="connsiteY5" fmla="*/ 934557 h 1453495"/>
                  <a:gd name="connsiteX6" fmla="*/ 1940851 w 1940851"/>
                  <a:gd name="connsiteY6" fmla="*/ 1081353 h 1453495"/>
                  <a:gd name="connsiteX7" fmla="*/ 899329 w 1940851"/>
                  <a:gd name="connsiteY7" fmla="*/ 1334473 h 1453495"/>
                  <a:gd name="connsiteX8" fmla="*/ 472774 w 1940851"/>
                  <a:gd name="connsiteY8" fmla="*/ 1453495 h 1453495"/>
                  <a:gd name="connsiteX9" fmla="*/ 0 w 1940851"/>
                  <a:gd name="connsiteY9" fmla="*/ 1264134 h 1453495"/>
                  <a:gd name="connsiteX10" fmla="*/ 175847 w 1940851"/>
                  <a:gd name="connsiteY10" fmla="*/ 852151 h 1453495"/>
                  <a:gd name="connsiteX11" fmla="*/ 432080 w 1940851"/>
                  <a:gd name="connsiteY11" fmla="*/ 565774 h 1453495"/>
                  <a:gd name="connsiteX12" fmla="*/ 658168 w 1940851"/>
                  <a:gd name="connsiteY12" fmla="*/ 656209 h 1453495"/>
                  <a:gd name="connsiteX13" fmla="*/ 728506 w 1940851"/>
                  <a:gd name="connsiteY13" fmla="*/ 394951 h 1453495"/>
                  <a:gd name="connsiteX14" fmla="*/ 537588 w 1940851"/>
                  <a:gd name="connsiteY14" fmla="*/ 324614 h 1453495"/>
                  <a:gd name="connsiteX15" fmla="*/ 517491 w 1940851"/>
                  <a:gd name="connsiteY15" fmla="*/ 199008 h 1453495"/>
                  <a:gd name="connsiteX16" fmla="*/ 402436 w 1940851"/>
                  <a:gd name="connsiteY16" fmla="*/ 0 h 1453495"/>
                  <a:gd name="connsiteX0" fmla="*/ 402436 w 1940851"/>
                  <a:gd name="connsiteY0" fmla="*/ 0 h 1848823"/>
                  <a:gd name="connsiteX1" fmla="*/ 747045 w 1940851"/>
                  <a:gd name="connsiteY1" fmla="*/ 50242 h 1848823"/>
                  <a:gd name="connsiteX2" fmla="*/ 1271117 w 1940851"/>
                  <a:gd name="connsiteY2" fmla="*/ 364806 h 1848823"/>
                  <a:gd name="connsiteX3" fmla="*/ 1751947 w 1940851"/>
                  <a:gd name="connsiteY3" fmla="*/ 660186 h 1848823"/>
                  <a:gd name="connsiteX4" fmla="*/ 1859638 w 1940851"/>
                  <a:gd name="connsiteY4" fmla="*/ 790302 h 1848823"/>
                  <a:gd name="connsiteX5" fmla="*/ 1919445 w 1940851"/>
                  <a:gd name="connsiteY5" fmla="*/ 934557 h 1848823"/>
                  <a:gd name="connsiteX6" fmla="*/ 1940851 w 1940851"/>
                  <a:gd name="connsiteY6" fmla="*/ 1081353 h 1848823"/>
                  <a:gd name="connsiteX7" fmla="*/ 1692285 w 1940851"/>
                  <a:gd name="connsiteY7" fmla="*/ 1848823 h 1848823"/>
                  <a:gd name="connsiteX8" fmla="*/ 472774 w 1940851"/>
                  <a:gd name="connsiteY8" fmla="*/ 1453495 h 1848823"/>
                  <a:gd name="connsiteX9" fmla="*/ 0 w 1940851"/>
                  <a:gd name="connsiteY9" fmla="*/ 1264134 h 1848823"/>
                  <a:gd name="connsiteX10" fmla="*/ 175847 w 1940851"/>
                  <a:gd name="connsiteY10" fmla="*/ 852151 h 1848823"/>
                  <a:gd name="connsiteX11" fmla="*/ 432080 w 1940851"/>
                  <a:gd name="connsiteY11" fmla="*/ 565774 h 1848823"/>
                  <a:gd name="connsiteX12" fmla="*/ 658168 w 1940851"/>
                  <a:gd name="connsiteY12" fmla="*/ 656209 h 1848823"/>
                  <a:gd name="connsiteX13" fmla="*/ 728506 w 1940851"/>
                  <a:gd name="connsiteY13" fmla="*/ 394951 h 1848823"/>
                  <a:gd name="connsiteX14" fmla="*/ 537588 w 1940851"/>
                  <a:gd name="connsiteY14" fmla="*/ 324614 h 1848823"/>
                  <a:gd name="connsiteX15" fmla="*/ 517491 w 1940851"/>
                  <a:gd name="connsiteY15" fmla="*/ 199008 h 1848823"/>
                  <a:gd name="connsiteX16" fmla="*/ 402436 w 1940851"/>
                  <a:gd name="connsiteY16" fmla="*/ 0 h 1848823"/>
                  <a:gd name="connsiteX0" fmla="*/ 402436 w 1940851"/>
                  <a:gd name="connsiteY0" fmla="*/ 0 h 1848823"/>
                  <a:gd name="connsiteX1" fmla="*/ 747045 w 1940851"/>
                  <a:gd name="connsiteY1" fmla="*/ 50242 h 1848823"/>
                  <a:gd name="connsiteX2" fmla="*/ 1271117 w 1940851"/>
                  <a:gd name="connsiteY2" fmla="*/ 364806 h 1848823"/>
                  <a:gd name="connsiteX3" fmla="*/ 1751947 w 1940851"/>
                  <a:gd name="connsiteY3" fmla="*/ 660186 h 1848823"/>
                  <a:gd name="connsiteX4" fmla="*/ 1859638 w 1940851"/>
                  <a:gd name="connsiteY4" fmla="*/ 790302 h 1848823"/>
                  <a:gd name="connsiteX5" fmla="*/ 1919445 w 1940851"/>
                  <a:gd name="connsiteY5" fmla="*/ 934557 h 1848823"/>
                  <a:gd name="connsiteX6" fmla="*/ 1940851 w 1940851"/>
                  <a:gd name="connsiteY6" fmla="*/ 1081353 h 1848823"/>
                  <a:gd name="connsiteX7" fmla="*/ 1883726 w 1940851"/>
                  <a:gd name="connsiteY7" fmla="*/ 1258406 h 1848823"/>
                  <a:gd name="connsiteX8" fmla="*/ 1692285 w 1940851"/>
                  <a:gd name="connsiteY8" fmla="*/ 1848823 h 1848823"/>
                  <a:gd name="connsiteX9" fmla="*/ 472774 w 1940851"/>
                  <a:gd name="connsiteY9" fmla="*/ 1453495 h 1848823"/>
                  <a:gd name="connsiteX10" fmla="*/ 0 w 1940851"/>
                  <a:gd name="connsiteY10" fmla="*/ 1264134 h 1848823"/>
                  <a:gd name="connsiteX11" fmla="*/ 175847 w 1940851"/>
                  <a:gd name="connsiteY11" fmla="*/ 852151 h 1848823"/>
                  <a:gd name="connsiteX12" fmla="*/ 432080 w 1940851"/>
                  <a:gd name="connsiteY12" fmla="*/ 565774 h 1848823"/>
                  <a:gd name="connsiteX13" fmla="*/ 658168 w 1940851"/>
                  <a:gd name="connsiteY13" fmla="*/ 656209 h 1848823"/>
                  <a:gd name="connsiteX14" fmla="*/ 728506 w 1940851"/>
                  <a:gd name="connsiteY14" fmla="*/ 394951 h 1848823"/>
                  <a:gd name="connsiteX15" fmla="*/ 537588 w 1940851"/>
                  <a:gd name="connsiteY15" fmla="*/ 324614 h 1848823"/>
                  <a:gd name="connsiteX16" fmla="*/ 517491 w 1940851"/>
                  <a:gd name="connsiteY16" fmla="*/ 199008 h 1848823"/>
                  <a:gd name="connsiteX17" fmla="*/ 402436 w 1940851"/>
                  <a:gd name="connsiteY17" fmla="*/ 0 h 1848823"/>
                  <a:gd name="connsiteX0" fmla="*/ 402436 w 1940851"/>
                  <a:gd name="connsiteY0" fmla="*/ 0 h 1848823"/>
                  <a:gd name="connsiteX1" fmla="*/ 747045 w 1940851"/>
                  <a:gd name="connsiteY1" fmla="*/ 50242 h 1848823"/>
                  <a:gd name="connsiteX2" fmla="*/ 1271117 w 1940851"/>
                  <a:gd name="connsiteY2" fmla="*/ 364806 h 1848823"/>
                  <a:gd name="connsiteX3" fmla="*/ 1751947 w 1940851"/>
                  <a:gd name="connsiteY3" fmla="*/ 660186 h 1848823"/>
                  <a:gd name="connsiteX4" fmla="*/ 1859638 w 1940851"/>
                  <a:gd name="connsiteY4" fmla="*/ 790302 h 1848823"/>
                  <a:gd name="connsiteX5" fmla="*/ 1919445 w 1940851"/>
                  <a:gd name="connsiteY5" fmla="*/ 934557 h 1848823"/>
                  <a:gd name="connsiteX6" fmla="*/ 1940851 w 1940851"/>
                  <a:gd name="connsiteY6" fmla="*/ 1081353 h 1848823"/>
                  <a:gd name="connsiteX7" fmla="*/ 1909920 w 1940851"/>
                  <a:gd name="connsiteY7" fmla="*/ 1208400 h 1848823"/>
                  <a:gd name="connsiteX8" fmla="*/ 1692285 w 1940851"/>
                  <a:gd name="connsiteY8" fmla="*/ 1848823 h 1848823"/>
                  <a:gd name="connsiteX9" fmla="*/ 472774 w 1940851"/>
                  <a:gd name="connsiteY9" fmla="*/ 1453495 h 1848823"/>
                  <a:gd name="connsiteX10" fmla="*/ 0 w 1940851"/>
                  <a:gd name="connsiteY10" fmla="*/ 1264134 h 1848823"/>
                  <a:gd name="connsiteX11" fmla="*/ 175847 w 1940851"/>
                  <a:gd name="connsiteY11" fmla="*/ 852151 h 1848823"/>
                  <a:gd name="connsiteX12" fmla="*/ 432080 w 1940851"/>
                  <a:gd name="connsiteY12" fmla="*/ 565774 h 1848823"/>
                  <a:gd name="connsiteX13" fmla="*/ 658168 w 1940851"/>
                  <a:gd name="connsiteY13" fmla="*/ 656209 h 1848823"/>
                  <a:gd name="connsiteX14" fmla="*/ 728506 w 1940851"/>
                  <a:gd name="connsiteY14" fmla="*/ 394951 h 1848823"/>
                  <a:gd name="connsiteX15" fmla="*/ 537588 w 1940851"/>
                  <a:gd name="connsiteY15" fmla="*/ 324614 h 1848823"/>
                  <a:gd name="connsiteX16" fmla="*/ 517491 w 1940851"/>
                  <a:gd name="connsiteY16" fmla="*/ 199008 h 1848823"/>
                  <a:gd name="connsiteX17" fmla="*/ 402436 w 1940851"/>
                  <a:gd name="connsiteY17" fmla="*/ 0 h 1848823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432080 w 1940851"/>
                  <a:gd name="connsiteY12" fmla="*/ 563393 h 1846442"/>
                  <a:gd name="connsiteX13" fmla="*/ 658168 w 1940851"/>
                  <a:gd name="connsiteY13" fmla="*/ 653828 h 1846442"/>
                  <a:gd name="connsiteX14" fmla="*/ 728506 w 1940851"/>
                  <a:gd name="connsiteY14" fmla="*/ 392570 h 1846442"/>
                  <a:gd name="connsiteX15" fmla="*/ 537588 w 1940851"/>
                  <a:gd name="connsiteY15" fmla="*/ 322233 h 1846442"/>
                  <a:gd name="connsiteX16" fmla="*/ 517491 w 1940851"/>
                  <a:gd name="connsiteY16" fmla="*/ 196627 h 1846442"/>
                  <a:gd name="connsiteX17" fmla="*/ 547692 w 1940851"/>
                  <a:gd name="connsiteY17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432080 w 1940851"/>
                  <a:gd name="connsiteY12" fmla="*/ 563393 h 1846442"/>
                  <a:gd name="connsiteX13" fmla="*/ 658168 w 1940851"/>
                  <a:gd name="connsiteY13" fmla="*/ 653828 h 1846442"/>
                  <a:gd name="connsiteX14" fmla="*/ 728506 w 1940851"/>
                  <a:gd name="connsiteY14" fmla="*/ 392570 h 1846442"/>
                  <a:gd name="connsiteX15" fmla="*/ 537588 w 1940851"/>
                  <a:gd name="connsiteY15" fmla="*/ 322233 h 1846442"/>
                  <a:gd name="connsiteX16" fmla="*/ 300798 w 1940851"/>
                  <a:gd name="connsiteY16" fmla="*/ 165670 h 1846442"/>
                  <a:gd name="connsiteX17" fmla="*/ 547692 w 1940851"/>
                  <a:gd name="connsiteY17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432080 w 1940851"/>
                  <a:gd name="connsiteY12" fmla="*/ 563393 h 1846442"/>
                  <a:gd name="connsiteX13" fmla="*/ 658168 w 1940851"/>
                  <a:gd name="connsiteY13" fmla="*/ 653828 h 1846442"/>
                  <a:gd name="connsiteX14" fmla="*/ 728506 w 1940851"/>
                  <a:gd name="connsiteY14" fmla="*/ 392570 h 1846442"/>
                  <a:gd name="connsiteX15" fmla="*/ 225644 w 1940851"/>
                  <a:gd name="connsiteY15" fmla="*/ 612745 h 1846442"/>
                  <a:gd name="connsiteX16" fmla="*/ 300798 w 1940851"/>
                  <a:gd name="connsiteY16" fmla="*/ 165670 h 1846442"/>
                  <a:gd name="connsiteX17" fmla="*/ 547692 w 1940851"/>
                  <a:gd name="connsiteY17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432080 w 1940851"/>
                  <a:gd name="connsiteY12" fmla="*/ 563393 h 1846442"/>
                  <a:gd name="connsiteX13" fmla="*/ 658168 w 1940851"/>
                  <a:gd name="connsiteY13" fmla="*/ 653828 h 1846442"/>
                  <a:gd name="connsiteX14" fmla="*/ 225644 w 1940851"/>
                  <a:gd name="connsiteY14" fmla="*/ 612745 h 1846442"/>
                  <a:gd name="connsiteX15" fmla="*/ 300798 w 1940851"/>
                  <a:gd name="connsiteY15" fmla="*/ 165670 h 1846442"/>
                  <a:gd name="connsiteX16" fmla="*/ 547692 w 1940851"/>
                  <a:gd name="connsiteY16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432080 w 1940851"/>
                  <a:gd name="connsiteY12" fmla="*/ 563393 h 1846442"/>
                  <a:gd name="connsiteX13" fmla="*/ 225644 w 1940851"/>
                  <a:gd name="connsiteY13" fmla="*/ 612745 h 1846442"/>
                  <a:gd name="connsiteX14" fmla="*/ 300798 w 1940851"/>
                  <a:gd name="connsiteY14" fmla="*/ 165670 h 1846442"/>
                  <a:gd name="connsiteX15" fmla="*/ 547692 w 1940851"/>
                  <a:gd name="connsiteY15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225644 w 1940851"/>
                  <a:gd name="connsiteY12" fmla="*/ 612745 h 1846442"/>
                  <a:gd name="connsiteX13" fmla="*/ 300798 w 1940851"/>
                  <a:gd name="connsiteY13" fmla="*/ 165670 h 1846442"/>
                  <a:gd name="connsiteX14" fmla="*/ 547692 w 1940851"/>
                  <a:gd name="connsiteY14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237550 w 1940851"/>
                  <a:gd name="connsiteY12" fmla="*/ 612745 h 1846442"/>
                  <a:gd name="connsiteX13" fmla="*/ 300798 w 1940851"/>
                  <a:gd name="connsiteY13" fmla="*/ 165670 h 1846442"/>
                  <a:gd name="connsiteX14" fmla="*/ 547692 w 1940851"/>
                  <a:gd name="connsiteY14" fmla="*/ 0 h 1846442"/>
                  <a:gd name="connsiteX0" fmla="*/ 547692 w 1940851"/>
                  <a:gd name="connsiteY0" fmla="*/ 0 h 1846442"/>
                  <a:gd name="connsiteX1" fmla="*/ 747045 w 1940851"/>
                  <a:gd name="connsiteY1" fmla="*/ 47861 h 1846442"/>
                  <a:gd name="connsiteX2" fmla="*/ 1271117 w 1940851"/>
                  <a:gd name="connsiteY2" fmla="*/ 362425 h 1846442"/>
                  <a:gd name="connsiteX3" fmla="*/ 1751947 w 1940851"/>
                  <a:gd name="connsiteY3" fmla="*/ 657805 h 1846442"/>
                  <a:gd name="connsiteX4" fmla="*/ 1859638 w 1940851"/>
                  <a:gd name="connsiteY4" fmla="*/ 787921 h 1846442"/>
                  <a:gd name="connsiteX5" fmla="*/ 1919445 w 1940851"/>
                  <a:gd name="connsiteY5" fmla="*/ 932176 h 1846442"/>
                  <a:gd name="connsiteX6" fmla="*/ 1940851 w 1940851"/>
                  <a:gd name="connsiteY6" fmla="*/ 1078972 h 1846442"/>
                  <a:gd name="connsiteX7" fmla="*/ 1909920 w 1940851"/>
                  <a:gd name="connsiteY7" fmla="*/ 1206019 h 1846442"/>
                  <a:gd name="connsiteX8" fmla="*/ 1692285 w 1940851"/>
                  <a:gd name="connsiteY8" fmla="*/ 1846442 h 1846442"/>
                  <a:gd name="connsiteX9" fmla="*/ 472774 w 1940851"/>
                  <a:gd name="connsiteY9" fmla="*/ 1451114 h 1846442"/>
                  <a:gd name="connsiteX10" fmla="*/ 0 w 1940851"/>
                  <a:gd name="connsiteY10" fmla="*/ 1261753 h 1846442"/>
                  <a:gd name="connsiteX11" fmla="*/ 175847 w 1940851"/>
                  <a:gd name="connsiteY11" fmla="*/ 849770 h 1846442"/>
                  <a:gd name="connsiteX12" fmla="*/ 237550 w 1940851"/>
                  <a:gd name="connsiteY12" fmla="*/ 612745 h 1846442"/>
                  <a:gd name="connsiteX13" fmla="*/ 288892 w 1940851"/>
                  <a:gd name="connsiteY13" fmla="*/ 187101 h 1846442"/>
                  <a:gd name="connsiteX14" fmla="*/ 547692 w 1940851"/>
                  <a:gd name="connsiteY14" fmla="*/ 0 h 1846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940851" h="1846442">
                    <a:moveTo>
                      <a:pt x="547692" y="0"/>
                    </a:moveTo>
                    <a:lnTo>
                      <a:pt x="747045" y="47861"/>
                    </a:lnTo>
                    <a:lnTo>
                      <a:pt x="1271117" y="362425"/>
                    </a:lnTo>
                    <a:lnTo>
                      <a:pt x="1751947" y="657805"/>
                    </a:lnTo>
                    <a:lnTo>
                      <a:pt x="1859638" y="787921"/>
                    </a:lnTo>
                    <a:lnTo>
                      <a:pt x="1919445" y="932176"/>
                    </a:lnTo>
                    <a:lnTo>
                      <a:pt x="1940851" y="1078972"/>
                    </a:lnTo>
                    <a:lnTo>
                      <a:pt x="1909920" y="1206019"/>
                    </a:lnTo>
                    <a:lnTo>
                      <a:pt x="1692285" y="1846442"/>
                    </a:lnTo>
                    <a:lnTo>
                      <a:pt x="472774" y="1451114"/>
                    </a:lnTo>
                    <a:lnTo>
                      <a:pt x="0" y="1261753"/>
                    </a:lnTo>
                    <a:lnTo>
                      <a:pt x="175847" y="849770"/>
                    </a:lnTo>
                    <a:lnTo>
                      <a:pt x="237550" y="612745"/>
                    </a:lnTo>
                    <a:lnTo>
                      <a:pt x="288892" y="187101"/>
                    </a:lnTo>
                    <a:lnTo>
                      <a:pt x="547692" y="0"/>
                    </a:lnTo>
                    <a:close/>
                  </a:path>
                </a:pathLst>
              </a:custGeom>
              <a:solidFill>
                <a:srgbClr val="9966CC">
                  <a:alpha val="50196"/>
                </a:srgbClr>
              </a:solidFill>
              <a:ln w="9525">
                <a:solidFill>
                  <a:schemeClr val="accent4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578D5578-7ABF-47DF-A05C-015121E8D7C1}"/>
                  </a:ext>
                </a:extLst>
              </p:cNvPr>
              <p:cNvGrpSpPr/>
              <p:nvPr/>
            </p:nvGrpSpPr>
            <p:grpSpPr>
              <a:xfrm>
                <a:off x="6229266" y="1159385"/>
                <a:ext cx="2168671" cy="1485291"/>
                <a:chOff x="6229266" y="1159385"/>
                <a:chExt cx="2168671" cy="1485291"/>
              </a:xfrm>
            </p:grpSpPr>
            <p:sp>
              <p:nvSpPr>
                <p:cNvPr id="81" name="Rectangle 70">
                  <a:extLst>
                    <a:ext uri="{FF2B5EF4-FFF2-40B4-BE49-F238E27FC236}">
                      <a16:creationId xmlns:a16="http://schemas.microsoft.com/office/drawing/2014/main" id="{B3151F91-1A5E-4466-8FFB-0E2077E1AA33}"/>
                    </a:ext>
                  </a:extLst>
                </p:cNvPr>
                <p:cNvSpPr/>
                <p:nvPr/>
              </p:nvSpPr>
              <p:spPr>
                <a:xfrm rot="17243720">
                  <a:off x="6423865" y="2117239"/>
                  <a:ext cx="472615" cy="582259"/>
                </a:xfrm>
                <a:custGeom>
                  <a:avLst/>
                  <a:gdLst>
                    <a:gd name="connsiteX0" fmla="*/ 0 w 311960"/>
                    <a:gd name="connsiteY0" fmla="*/ 0 h 404205"/>
                    <a:gd name="connsiteX1" fmla="*/ 311960 w 311960"/>
                    <a:gd name="connsiteY1" fmla="*/ 0 h 404205"/>
                    <a:gd name="connsiteX2" fmla="*/ 311960 w 311960"/>
                    <a:gd name="connsiteY2" fmla="*/ 404205 h 404205"/>
                    <a:gd name="connsiteX3" fmla="*/ 0 w 311960"/>
                    <a:gd name="connsiteY3" fmla="*/ 404205 h 404205"/>
                    <a:gd name="connsiteX4" fmla="*/ 0 w 311960"/>
                    <a:gd name="connsiteY4" fmla="*/ 0 h 404205"/>
                    <a:gd name="connsiteX0" fmla="*/ 0 w 311960"/>
                    <a:gd name="connsiteY0" fmla="*/ 0 h 409052"/>
                    <a:gd name="connsiteX1" fmla="*/ 311960 w 311960"/>
                    <a:gd name="connsiteY1" fmla="*/ 0 h 409052"/>
                    <a:gd name="connsiteX2" fmla="*/ 288524 w 311960"/>
                    <a:gd name="connsiteY2" fmla="*/ 409052 h 409052"/>
                    <a:gd name="connsiteX3" fmla="*/ 0 w 311960"/>
                    <a:gd name="connsiteY3" fmla="*/ 404205 h 409052"/>
                    <a:gd name="connsiteX4" fmla="*/ 0 w 311960"/>
                    <a:gd name="connsiteY4" fmla="*/ 0 h 409052"/>
                    <a:gd name="connsiteX0" fmla="*/ 30828 w 342788"/>
                    <a:gd name="connsiteY0" fmla="*/ 0 h 409052"/>
                    <a:gd name="connsiteX1" fmla="*/ 342788 w 342788"/>
                    <a:gd name="connsiteY1" fmla="*/ 0 h 409052"/>
                    <a:gd name="connsiteX2" fmla="*/ 319352 w 342788"/>
                    <a:gd name="connsiteY2" fmla="*/ 409052 h 409052"/>
                    <a:gd name="connsiteX3" fmla="*/ 0 w 342788"/>
                    <a:gd name="connsiteY3" fmla="*/ 401386 h 409052"/>
                    <a:gd name="connsiteX4" fmla="*/ 30828 w 342788"/>
                    <a:gd name="connsiteY4" fmla="*/ 0 h 409052"/>
                    <a:gd name="connsiteX0" fmla="*/ 30691 w 342788"/>
                    <a:gd name="connsiteY0" fmla="*/ 7529 h 409052"/>
                    <a:gd name="connsiteX1" fmla="*/ 342788 w 342788"/>
                    <a:gd name="connsiteY1" fmla="*/ 0 h 409052"/>
                    <a:gd name="connsiteX2" fmla="*/ 319352 w 342788"/>
                    <a:gd name="connsiteY2" fmla="*/ 409052 h 409052"/>
                    <a:gd name="connsiteX3" fmla="*/ 0 w 342788"/>
                    <a:gd name="connsiteY3" fmla="*/ 401386 h 409052"/>
                    <a:gd name="connsiteX4" fmla="*/ 30691 w 342788"/>
                    <a:gd name="connsiteY4" fmla="*/ 7529 h 409052"/>
                    <a:gd name="connsiteX0" fmla="*/ 30691 w 346620"/>
                    <a:gd name="connsiteY0" fmla="*/ 11224 h 412747"/>
                    <a:gd name="connsiteX1" fmla="*/ 346620 w 346620"/>
                    <a:gd name="connsiteY1" fmla="*/ 0 h 412747"/>
                    <a:gd name="connsiteX2" fmla="*/ 319352 w 346620"/>
                    <a:gd name="connsiteY2" fmla="*/ 412747 h 412747"/>
                    <a:gd name="connsiteX3" fmla="*/ 0 w 346620"/>
                    <a:gd name="connsiteY3" fmla="*/ 405081 h 412747"/>
                    <a:gd name="connsiteX4" fmla="*/ 30691 w 346620"/>
                    <a:gd name="connsiteY4" fmla="*/ 11224 h 412747"/>
                    <a:gd name="connsiteX0" fmla="*/ 30691 w 346620"/>
                    <a:gd name="connsiteY0" fmla="*/ 11224 h 440783"/>
                    <a:gd name="connsiteX1" fmla="*/ 346620 w 346620"/>
                    <a:gd name="connsiteY1" fmla="*/ 0 h 440783"/>
                    <a:gd name="connsiteX2" fmla="*/ 314827 w 346620"/>
                    <a:gd name="connsiteY2" fmla="*/ 440783 h 440783"/>
                    <a:gd name="connsiteX3" fmla="*/ 0 w 346620"/>
                    <a:gd name="connsiteY3" fmla="*/ 405081 h 440783"/>
                    <a:gd name="connsiteX4" fmla="*/ 30691 w 346620"/>
                    <a:gd name="connsiteY4" fmla="*/ 11224 h 440783"/>
                    <a:gd name="connsiteX0" fmla="*/ 30691 w 374876"/>
                    <a:gd name="connsiteY0" fmla="*/ 11224 h 451914"/>
                    <a:gd name="connsiteX1" fmla="*/ 346620 w 374876"/>
                    <a:gd name="connsiteY1" fmla="*/ 0 h 451914"/>
                    <a:gd name="connsiteX2" fmla="*/ 374876 w 374876"/>
                    <a:gd name="connsiteY2" fmla="*/ 451914 h 451914"/>
                    <a:gd name="connsiteX3" fmla="*/ 0 w 374876"/>
                    <a:gd name="connsiteY3" fmla="*/ 405081 h 451914"/>
                    <a:gd name="connsiteX4" fmla="*/ 30691 w 374876"/>
                    <a:gd name="connsiteY4" fmla="*/ 11224 h 451914"/>
                    <a:gd name="connsiteX0" fmla="*/ 30691 w 404455"/>
                    <a:gd name="connsiteY0" fmla="*/ 0 h 440690"/>
                    <a:gd name="connsiteX1" fmla="*/ 404455 w 404455"/>
                    <a:gd name="connsiteY1" fmla="*/ 343300 h 440690"/>
                    <a:gd name="connsiteX2" fmla="*/ 374876 w 404455"/>
                    <a:gd name="connsiteY2" fmla="*/ 440690 h 440690"/>
                    <a:gd name="connsiteX3" fmla="*/ 0 w 404455"/>
                    <a:gd name="connsiteY3" fmla="*/ 393857 h 440690"/>
                    <a:gd name="connsiteX4" fmla="*/ 30691 w 404455"/>
                    <a:gd name="connsiteY4" fmla="*/ 0 h 440690"/>
                    <a:gd name="connsiteX0" fmla="*/ 30691 w 479433"/>
                    <a:gd name="connsiteY0" fmla="*/ 0 h 447860"/>
                    <a:gd name="connsiteX1" fmla="*/ 404455 w 479433"/>
                    <a:gd name="connsiteY1" fmla="*/ 343300 h 447860"/>
                    <a:gd name="connsiteX2" fmla="*/ 479433 w 479433"/>
                    <a:gd name="connsiteY2" fmla="*/ 447860 h 447860"/>
                    <a:gd name="connsiteX3" fmla="*/ 0 w 479433"/>
                    <a:gd name="connsiteY3" fmla="*/ 393857 h 447860"/>
                    <a:gd name="connsiteX4" fmla="*/ 30691 w 479433"/>
                    <a:gd name="connsiteY4" fmla="*/ 0 h 447860"/>
                    <a:gd name="connsiteX0" fmla="*/ 30691 w 479433"/>
                    <a:gd name="connsiteY0" fmla="*/ 0 h 447860"/>
                    <a:gd name="connsiteX1" fmla="*/ 471971 w 479433"/>
                    <a:gd name="connsiteY1" fmla="*/ 399505 h 447860"/>
                    <a:gd name="connsiteX2" fmla="*/ 479433 w 479433"/>
                    <a:gd name="connsiteY2" fmla="*/ 447860 h 447860"/>
                    <a:gd name="connsiteX3" fmla="*/ 0 w 479433"/>
                    <a:gd name="connsiteY3" fmla="*/ 393857 h 447860"/>
                    <a:gd name="connsiteX4" fmla="*/ 30691 w 479433"/>
                    <a:gd name="connsiteY4" fmla="*/ 0 h 447860"/>
                    <a:gd name="connsiteX0" fmla="*/ 30691 w 479433"/>
                    <a:gd name="connsiteY0" fmla="*/ 0 h 447860"/>
                    <a:gd name="connsiteX1" fmla="*/ 195804 w 479433"/>
                    <a:gd name="connsiteY1" fmla="*/ 145963 h 447860"/>
                    <a:gd name="connsiteX2" fmla="*/ 471971 w 479433"/>
                    <a:gd name="connsiteY2" fmla="*/ 399505 h 447860"/>
                    <a:gd name="connsiteX3" fmla="*/ 479433 w 479433"/>
                    <a:gd name="connsiteY3" fmla="*/ 447860 h 447860"/>
                    <a:gd name="connsiteX4" fmla="*/ 0 w 479433"/>
                    <a:gd name="connsiteY4" fmla="*/ 393857 h 447860"/>
                    <a:gd name="connsiteX5" fmla="*/ 30691 w 479433"/>
                    <a:gd name="connsiteY5" fmla="*/ 0 h 447860"/>
                    <a:gd name="connsiteX0" fmla="*/ 30691 w 479433"/>
                    <a:gd name="connsiteY0" fmla="*/ 0 h 447860"/>
                    <a:gd name="connsiteX1" fmla="*/ 290948 w 479433"/>
                    <a:gd name="connsiteY1" fmla="*/ 298317 h 447860"/>
                    <a:gd name="connsiteX2" fmla="*/ 471971 w 479433"/>
                    <a:gd name="connsiteY2" fmla="*/ 399505 h 447860"/>
                    <a:gd name="connsiteX3" fmla="*/ 479433 w 479433"/>
                    <a:gd name="connsiteY3" fmla="*/ 447860 h 447860"/>
                    <a:gd name="connsiteX4" fmla="*/ 0 w 479433"/>
                    <a:gd name="connsiteY4" fmla="*/ 393857 h 447860"/>
                    <a:gd name="connsiteX5" fmla="*/ 30691 w 479433"/>
                    <a:gd name="connsiteY5" fmla="*/ 0 h 447860"/>
                    <a:gd name="connsiteX0" fmla="*/ 46647 w 479433"/>
                    <a:gd name="connsiteY0" fmla="*/ 0 h 580123"/>
                    <a:gd name="connsiteX1" fmla="*/ 290948 w 479433"/>
                    <a:gd name="connsiteY1" fmla="*/ 430580 h 580123"/>
                    <a:gd name="connsiteX2" fmla="*/ 471971 w 479433"/>
                    <a:gd name="connsiteY2" fmla="*/ 531768 h 580123"/>
                    <a:gd name="connsiteX3" fmla="*/ 479433 w 479433"/>
                    <a:gd name="connsiteY3" fmla="*/ 580123 h 580123"/>
                    <a:gd name="connsiteX4" fmla="*/ 0 w 479433"/>
                    <a:gd name="connsiteY4" fmla="*/ 526120 h 580123"/>
                    <a:gd name="connsiteX5" fmla="*/ 46647 w 479433"/>
                    <a:gd name="connsiteY5" fmla="*/ 0 h 580123"/>
                    <a:gd name="connsiteX0" fmla="*/ 46647 w 479433"/>
                    <a:gd name="connsiteY0" fmla="*/ 0 h 580123"/>
                    <a:gd name="connsiteX1" fmla="*/ 158238 w 479433"/>
                    <a:gd name="connsiteY1" fmla="*/ 190180 h 580123"/>
                    <a:gd name="connsiteX2" fmla="*/ 290948 w 479433"/>
                    <a:gd name="connsiteY2" fmla="*/ 430580 h 580123"/>
                    <a:gd name="connsiteX3" fmla="*/ 471971 w 479433"/>
                    <a:gd name="connsiteY3" fmla="*/ 531768 h 580123"/>
                    <a:gd name="connsiteX4" fmla="*/ 479433 w 479433"/>
                    <a:gd name="connsiteY4" fmla="*/ 580123 h 580123"/>
                    <a:gd name="connsiteX5" fmla="*/ 0 w 479433"/>
                    <a:gd name="connsiteY5" fmla="*/ 526120 h 580123"/>
                    <a:gd name="connsiteX6" fmla="*/ 46647 w 479433"/>
                    <a:gd name="connsiteY6" fmla="*/ 0 h 580123"/>
                    <a:gd name="connsiteX0" fmla="*/ 46647 w 479433"/>
                    <a:gd name="connsiteY0" fmla="*/ 0 h 580123"/>
                    <a:gd name="connsiteX1" fmla="*/ 156433 w 479433"/>
                    <a:gd name="connsiteY1" fmla="*/ 248138 h 580123"/>
                    <a:gd name="connsiteX2" fmla="*/ 290948 w 479433"/>
                    <a:gd name="connsiteY2" fmla="*/ 430580 h 580123"/>
                    <a:gd name="connsiteX3" fmla="*/ 471971 w 479433"/>
                    <a:gd name="connsiteY3" fmla="*/ 531768 h 580123"/>
                    <a:gd name="connsiteX4" fmla="*/ 479433 w 479433"/>
                    <a:gd name="connsiteY4" fmla="*/ 580123 h 580123"/>
                    <a:gd name="connsiteX5" fmla="*/ 0 w 479433"/>
                    <a:gd name="connsiteY5" fmla="*/ 526120 h 580123"/>
                    <a:gd name="connsiteX6" fmla="*/ 46647 w 479433"/>
                    <a:gd name="connsiteY6" fmla="*/ 0 h 580123"/>
                    <a:gd name="connsiteX0" fmla="*/ 46647 w 472615"/>
                    <a:gd name="connsiteY0" fmla="*/ 0 h 582259"/>
                    <a:gd name="connsiteX1" fmla="*/ 156433 w 472615"/>
                    <a:gd name="connsiteY1" fmla="*/ 248138 h 582259"/>
                    <a:gd name="connsiteX2" fmla="*/ 290948 w 472615"/>
                    <a:gd name="connsiteY2" fmla="*/ 430580 h 582259"/>
                    <a:gd name="connsiteX3" fmla="*/ 471971 w 472615"/>
                    <a:gd name="connsiteY3" fmla="*/ 531768 h 582259"/>
                    <a:gd name="connsiteX4" fmla="*/ 472615 w 472615"/>
                    <a:gd name="connsiteY4" fmla="*/ 582259 h 582259"/>
                    <a:gd name="connsiteX5" fmla="*/ 0 w 472615"/>
                    <a:gd name="connsiteY5" fmla="*/ 526120 h 582259"/>
                    <a:gd name="connsiteX6" fmla="*/ 46647 w 472615"/>
                    <a:gd name="connsiteY6" fmla="*/ 0 h 5822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72615" h="582259">
                      <a:moveTo>
                        <a:pt x="46647" y="0"/>
                      </a:moveTo>
                      <a:lnTo>
                        <a:pt x="156433" y="248138"/>
                      </a:lnTo>
                      <a:lnTo>
                        <a:pt x="290948" y="430580"/>
                      </a:lnTo>
                      <a:lnTo>
                        <a:pt x="471971" y="531768"/>
                      </a:lnTo>
                      <a:cubicBezTo>
                        <a:pt x="472186" y="548598"/>
                        <a:pt x="472400" y="565429"/>
                        <a:pt x="472615" y="582259"/>
                      </a:cubicBezTo>
                      <a:lnTo>
                        <a:pt x="0" y="526120"/>
                      </a:lnTo>
                      <a:lnTo>
                        <a:pt x="46647" y="0"/>
                      </a:lnTo>
                      <a:close/>
                    </a:path>
                  </a:pathLst>
                </a:custGeom>
                <a:solidFill>
                  <a:srgbClr val="66B1B1">
                    <a:alpha val="50196"/>
                  </a:srgbClr>
                </a:solidFill>
                <a:ln w="6350">
                  <a:solidFill>
                    <a:schemeClr val="tx1"/>
                  </a:solidFill>
                  <a:prstDash val="solid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400" dirty="0"/>
                </a:p>
              </p:txBody>
            </p:sp>
            <p:grpSp>
              <p:nvGrpSpPr>
                <p:cNvPr id="4" name="Group 3">
                  <a:extLst>
                    <a:ext uri="{FF2B5EF4-FFF2-40B4-BE49-F238E27FC236}">
                      <a16:creationId xmlns:a16="http://schemas.microsoft.com/office/drawing/2014/main" id="{A2D78EFF-5BE3-430F-ADF8-966CE63C7704}"/>
                    </a:ext>
                  </a:extLst>
                </p:cNvPr>
                <p:cNvGrpSpPr/>
                <p:nvPr/>
              </p:nvGrpSpPr>
              <p:grpSpPr>
                <a:xfrm>
                  <a:off x="6229266" y="1159385"/>
                  <a:ext cx="876796" cy="1416913"/>
                  <a:chOff x="6229266" y="1159385"/>
                  <a:chExt cx="876796" cy="1416913"/>
                </a:xfrm>
              </p:grpSpPr>
              <p:sp>
                <p:nvSpPr>
                  <p:cNvPr id="83" name="Rectangle 70">
                    <a:extLst>
                      <a:ext uri="{FF2B5EF4-FFF2-40B4-BE49-F238E27FC236}">
                        <a16:creationId xmlns:a16="http://schemas.microsoft.com/office/drawing/2014/main" id="{EBB3FB54-F95B-4305-962E-7456B2409635}"/>
                      </a:ext>
                    </a:extLst>
                  </p:cNvPr>
                  <p:cNvSpPr/>
                  <p:nvPr/>
                </p:nvSpPr>
                <p:spPr>
                  <a:xfrm rot="17243720">
                    <a:off x="6089962" y="1611800"/>
                    <a:ext cx="1416913" cy="512083"/>
                  </a:xfrm>
                  <a:custGeom>
                    <a:avLst/>
                    <a:gdLst>
                      <a:gd name="connsiteX0" fmla="*/ 0 w 311960"/>
                      <a:gd name="connsiteY0" fmla="*/ 0 h 404205"/>
                      <a:gd name="connsiteX1" fmla="*/ 311960 w 311960"/>
                      <a:gd name="connsiteY1" fmla="*/ 0 h 404205"/>
                      <a:gd name="connsiteX2" fmla="*/ 311960 w 311960"/>
                      <a:gd name="connsiteY2" fmla="*/ 404205 h 404205"/>
                      <a:gd name="connsiteX3" fmla="*/ 0 w 311960"/>
                      <a:gd name="connsiteY3" fmla="*/ 404205 h 404205"/>
                      <a:gd name="connsiteX4" fmla="*/ 0 w 311960"/>
                      <a:gd name="connsiteY4" fmla="*/ 0 h 404205"/>
                      <a:gd name="connsiteX0" fmla="*/ 0 w 311960"/>
                      <a:gd name="connsiteY0" fmla="*/ 0 h 409052"/>
                      <a:gd name="connsiteX1" fmla="*/ 311960 w 311960"/>
                      <a:gd name="connsiteY1" fmla="*/ 0 h 409052"/>
                      <a:gd name="connsiteX2" fmla="*/ 288524 w 311960"/>
                      <a:gd name="connsiteY2" fmla="*/ 409052 h 409052"/>
                      <a:gd name="connsiteX3" fmla="*/ 0 w 311960"/>
                      <a:gd name="connsiteY3" fmla="*/ 404205 h 409052"/>
                      <a:gd name="connsiteX4" fmla="*/ 0 w 311960"/>
                      <a:gd name="connsiteY4" fmla="*/ 0 h 409052"/>
                      <a:gd name="connsiteX0" fmla="*/ 30828 w 342788"/>
                      <a:gd name="connsiteY0" fmla="*/ 0 h 409052"/>
                      <a:gd name="connsiteX1" fmla="*/ 342788 w 342788"/>
                      <a:gd name="connsiteY1" fmla="*/ 0 h 409052"/>
                      <a:gd name="connsiteX2" fmla="*/ 319352 w 342788"/>
                      <a:gd name="connsiteY2" fmla="*/ 409052 h 409052"/>
                      <a:gd name="connsiteX3" fmla="*/ 0 w 342788"/>
                      <a:gd name="connsiteY3" fmla="*/ 401386 h 409052"/>
                      <a:gd name="connsiteX4" fmla="*/ 30828 w 342788"/>
                      <a:gd name="connsiteY4" fmla="*/ 0 h 409052"/>
                      <a:gd name="connsiteX0" fmla="*/ 30691 w 342788"/>
                      <a:gd name="connsiteY0" fmla="*/ 7529 h 409052"/>
                      <a:gd name="connsiteX1" fmla="*/ 342788 w 342788"/>
                      <a:gd name="connsiteY1" fmla="*/ 0 h 409052"/>
                      <a:gd name="connsiteX2" fmla="*/ 319352 w 342788"/>
                      <a:gd name="connsiteY2" fmla="*/ 409052 h 409052"/>
                      <a:gd name="connsiteX3" fmla="*/ 0 w 342788"/>
                      <a:gd name="connsiteY3" fmla="*/ 401386 h 409052"/>
                      <a:gd name="connsiteX4" fmla="*/ 30691 w 342788"/>
                      <a:gd name="connsiteY4" fmla="*/ 7529 h 409052"/>
                      <a:gd name="connsiteX0" fmla="*/ 30691 w 346620"/>
                      <a:gd name="connsiteY0" fmla="*/ 11224 h 412747"/>
                      <a:gd name="connsiteX1" fmla="*/ 346620 w 346620"/>
                      <a:gd name="connsiteY1" fmla="*/ 0 h 412747"/>
                      <a:gd name="connsiteX2" fmla="*/ 319352 w 346620"/>
                      <a:gd name="connsiteY2" fmla="*/ 412747 h 412747"/>
                      <a:gd name="connsiteX3" fmla="*/ 0 w 346620"/>
                      <a:gd name="connsiteY3" fmla="*/ 405081 h 412747"/>
                      <a:gd name="connsiteX4" fmla="*/ 30691 w 346620"/>
                      <a:gd name="connsiteY4" fmla="*/ 11224 h 412747"/>
                      <a:gd name="connsiteX0" fmla="*/ 30691 w 346620"/>
                      <a:gd name="connsiteY0" fmla="*/ 11224 h 440783"/>
                      <a:gd name="connsiteX1" fmla="*/ 346620 w 346620"/>
                      <a:gd name="connsiteY1" fmla="*/ 0 h 440783"/>
                      <a:gd name="connsiteX2" fmla="*/ 314827 w 346620"/>
                      <a:gd name="connsiteY2" fmla="*/ 440783 h 440783"/>
                      <a:gd name="connsiteX3" fmla="*/ 0 w 346620"/>
                      <a:gd name="connsiteY3" fmla="*/ 405081 h 440783"/>
                      <a:gd name="connsiteX4" fmla="*/ 30691 w 346620"/>
                      <a:gd name="connsiteY4" fmla="*/ 11224 h 440783"/>
                      <a:gd name="connsiteX0" fmla="*/ 30691 w 374876"/>
                      <a:gd name="connsiteY0" fmla="*/ 11224 h 451914"/>
                      <a:gd name="connsiteX1" fmla="*/ 346620 w 374876"/>
                      <a:gd name="connsiteY1" fmla="*/ 0 h 451914"/>
                      <a:gd name="connsiteX2" fmla="*/ 374876 w 374876"/>
                      <a:gd name="connsiteY2" fmla="*/ 451914 h 451914"/>
                      <a:gd name="connsiteX3" fmla="*/ 0 w 374876"/>
                      <a:gd name="connsiteY3" fmla="*/ 405081 h 451914"/>
                      <a:gd name="connsiteX4" fmla="*/ 30691 w 374876"/>
                      <a:gd name="connsiteY4" fmla="*/ 11224 h 451914"/>
                      <a:gd name="connsiteX0" fmla="*/ 30691 w 404455"/>
                      <a:gd name="connsiteY0" fmla="*/ 0 h 440690"/>
                      <a:gd name="connsiteX1" fmla="*/ 404455 w 404455"/>
                      <a:gd name="connsiteY1" fmla="*/ 343300 h 440690"/>
                      <a:gd name="connsiteX2" fmla="*/ 374876 w 404455"/>
                      <a:gd name="connsiteY2" fmla="*/ 440690 h 440690"/>
                      <a:gd name="connsiteX3" fmla="*/ 0 w 404455"/>
                      <a:gd name="connsiteY3" fmla="*/ 393857 h 440690"/>
                      <a:gd name="connsiteX4" fmla="*/ 30691 w 404455"/>
                      <a:gd name="connsiteY4" fmla="*/ 0 h 440690"/>
                      <a:gd name="connsiteX0" fmla="*/ 30691 w 543586"/>
                      <a:gd name="connsiteY0" fmla="*/ 0 h 440690"/>
                      <a:gd name="connsiteX1" fmla="*/ 543586 w 543586"/>
                      <a:gd name="connsiteY1" fmla="*/ 229841 h 440690"/>
                      <a:gd name="connsiteX2" fmla="*/ 374876 w 543586"/>
                      <a:gd name="connsiteY2" fmla="*/ 440690 h 440690"/>
                      <a:gd name="connsiteX3" fmla="*/ 0 w 543586"/>
                      <a:gd name="connsiteY3" fmla="*/ 393857 h 440690"/>
                      <a:gd name="connsiteX4" fmla="*/ 30691 w 543586"/>
                      <a:gd name="connsiteY4" fmla="*/ 0 h 440690"/>
                      <a:gd name="connsiteX0" fmla="*/ 0 w 1439364"/>
                      <a:gd name="connsiteY0" fmla="*/ 0 h 434909"/>
                      <a:gd name="connsiteX1" fmla="*/ 1439364 w 1439364"/>
                      <a:gd name="connsiteY1" fmla="*/ 224060 h 434909"/>
                      <a:gd name="connsiteX2" fmla="*/ 1270654 w 1439364"/>
                      <a:gd name="connsiteY2" fmla="*/ 434909 h 434909"/>
                      <a:gd name="connsiteX3" fmla="*/ 895778 w 1439364"/>
                      <a:gd name="connsiteY3" fmla="*/ 388076 h 434909"/>
                      <a:gd name="connsiteX4" fmla="*/ 0 w 1439364"/>
                      <a:gd name="connsiteY4" fmla="*/ 0 h 434909"/>
                      <a:gd name="connsiteX0" fmla="*/ 0 w 1439364"/>
                      <a:gd name="connsiteY0" fmla="*/ 0 h 434909"/>
                      <a:gd name="connsiteX1" fmla="*/ 1439364 w 1439364"/>
                      <a:gd name="connsiteY1" fmla="*/ 224060 h 434909"/>
                      <a:gd name="connsiteX2" fmla="*/ 1270654 w 1439364"/>
                      <a:gd name="connsiteY2" fmla="*/ 434909 h 434909"/>
                      <a:gd name="connsiteX3" fmla="*/ 895778 w 1439364"/>
                      <a:gd name="connsiteY3" fmla="*/ 388076 h 434909"/>
                      <a:gd name="connsiteX4" fmla="*/ 466179 w 1439364"/>
                      <a:gd name="connsiteY4" fmla="*/ 196415 h 434909"/>
                      <a:gd name="connsiteX5" fmla="*/ 0 w 1439364"/>
                      <a:gd name="connsiteY5" fmla="*/ 0 h 434909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312653 w 1481363"/>
                      <a:gd name="connsiteY2" fmla="*/ 434909 h 517823"/>
                      <a:gd name="connsiteX3" fmla="*/ 937777 w 1481363"/>
                      <a:gd name="connsiteY3" fmla="*/ 388076 h 517823"/>
                      <a:gd name="connsiteX4" fmla="*/ 0 w 1481363"/>
                      <a:gd name="connsiteY4" fmla="*/ 517823 h 517823"/>
                      <a:gd name="connsiteX5" fmla="*/ 41999 w 1481363"/>
                      <a:gd name="connsiteY5" fmla="*/ 0 h 517823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312653 w 1481363"/>
                      <a:gd name="connsiteY2" fmla="*/ 434909 h 517823"/>
                      <a:gd name="connsiteX3" fmla="*/ 1108865 w 1481363"/>
                      <a:gd name="connsiteY3" fmla="*/ 464235 h 517823"/>
                      <a:gd name="connsiteX4" fmla="*/ 0 w 1481363"/>
                      <a:gd name="connsiteY4" fmla="*/ 517823 h 517823"/>
                      <a:gd name="connsiteX5" fmla="*/ 41999 w 1481363"/>
                      <a:gd name="connsiteY5" fmla="*/ 0 h 517823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439106 w 1481363"/>
                      <a:gd name="connsiteY2" fmla="*/ 273019 h 517823"/>
                      <a:gd name="connsiteX3" fmla="*/ 1108865 w 1481363"/>
                      <a:gd name="connsiteY3" fmla="*/ 464235 h 517823"/>
                      <a:gd name="connsiteX4" fmla="*/ 0 w 1481363"/>
                      <a:gd name="connsiteY4" fmla="*/ 517823 h 517823"/>
                      <a:gd name="connsiteX5" fmla="*/ 41999 w 1481363"/>
                      <a:gd name="connsiteY5" fmla="*/ 0 h 517823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439106 w 1481363"/>
                      <a:gd name="connsiteY2" fmla="*/ 273019 h 517823"/>
                      <a:gd name="connsiteX3" fmla="*/ 1168186 w 1481363"/>
                      <a:gd name="connsiteY3" fmla="*/ 431322 h 517823"/>
                      <a:gd name="connsiteX4" fmla="*/ 1108865 w 1481363"/>
                      <a:gd name="connsiteY4" fmla="*/ 464235 h 517823"/>
                      <a:gd name="connsiteX5" fmla="*/ 0 w 1481363"/>
                      <a:gd name="connsiteY5" fmla="*/ 517823 h 517823"/>
                      <a:gd name="connsiteX6" fmla="*/ 41999 w 1481363"/>
                      <a:gd name="connsiteY6" fmla="*/ 0 h 517823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439106 w 1481363"/>
                      <a:gd name="connsiteY2" fmla="*/ 273019 h 517823"/>
                      <a:gd name="connsiteX3" fmla="*/ 1461289 w 1481363"/>
                      <a:gd name="connsiteY3" fmla="*/ 299571 h 517823"/>
                      <a:gd name="connsiteX4" fmla="*/ 1108865 w 1481363"/>
                      <a:gd name="connsiteY4" fmla="*/ 464235 h 517823"/>
                      <a:gd name="connsiteX5" fmla="*/ 0 w 1481363"/>
                      <a:gd name="connsiteY5" fmla="*/ 517823 h 517823"/>
                      <a:gd name="connsiteX6" fmla="*/ 41999 w 1481363"/>
                      <a:gd name="connsiteY6" fmla="*/ 0 h 517823"/>
                      <a:gd name="connsiteX0" fmla="*/ 41999 w 1481363"/>
                      <a:gd name="connsiteY0" fmla="*/ 0 h 517823"/>
                      <a:gd name="connsiteX1" fmla="*/ 1481363 w 1481363"/>
                      <a:gd name="connsiteY1" fmla="*/ 224060 h 517823"/>
                      <a:gd name="connsiteX2" fmla="*/ 1439106 w 1481363"/>
                      <a:gd name="connsiteY2" fmla="*/ 273019 h 517823"/>
                      <a:gd name="connsiteX3" fmla="*/ 1461289 w 1481363"/>
                      <a:gd name="connsiteY3" fmla="*/ 299571 h 517823"/>
                      <a:gd name="connsiteX4" fmla="*/ 1199287 w 1481363"/>
                      <a:gd name="connsiteY4" fmla="*/ 419083 h 517823"/>
                      <a:gd name="connsiteX5" fmla="*/ 1108865 w 1481363"/>
                      <a:gd name="connsiteY5" fmla="*/ 464235 h 517823"/>
                      <a:gd name="connsiteX6" fmla="*/ 0 w 1481363"/>
                      <a:gd name="connsiteY6" fmla="*/ 517823 h 517823"/>
                      <a:gd name="connsiteX7" fmla="*/ 41999 w 1481363"/>
                      <a:gd name="connsiteY7" fmla="*/ 0 h 517823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108865 w 1481363"/>
                      <a:gd name="connsiteY5" fmla="*/ 464235 h 520022"/>
                      <a:gd name="connsiteX6" fmla="*/ 0 w 1481363"/>
                      <a:gd name="connsiteY6" fmla="*/ 517823 h 520022"/>
                      <a:gd name="connsiteX7" fmla="*/ 41999 w 1481363"/>
                      <a:gd name="connsiteY7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132438 w 1481363"/>
                      <a:gd name="connsiteY5" fmla="*/ 451860 h 520022"/>
                      <a:gd name="connsiteX6" fmla="*/ 0 w 1481363"/>
                      <a:gd name="connsiteY6" fmla="*/ 517823 h 520022"/>
                      <a:gd name="connsiteX7" fmla="*/ 41999 w 1481363"/>
                      <a:gd name="connsiteY7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81404 w 1481363"/>
                      <a:gd name="connsiteY5" fmla="*/ 400473 h 520022"/>
                      <a:gd name="connsiteX6" fmla="*/ 0 w 1481363"/>
                      <a:gd name="connsiteY6" fmla="*/ 517823 h 520022"/>
                      <a:gd name="connsiteX7" fmla="*/ 41999 w 1481363"/>
                      <a:gd name="connsiteY7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98238 w 1481363"/>
                      <a:gd name="connsiteY5" fmla="*/ 302871 h 520022"/>
                      <a:gd name="connsiteX6" fmla="*/ 0 w 1481363"/>
                      <a:gd name="connsiteY6" fmla="*/ 517823 h 520022"/>
                      <a:gd name="connsiteX7" fmla="*/ 41999 w 1481363"/>
                      <a:gd name="connsiteY7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0 w 1481363"/>
                      <a:gd name="connsiteY6" fmla="*/ 517823 h 520022"/>
                      <a:gd name="connsiteX7" fmla="*/ 41999 w 1481363"/>
                      <a:gd name="connsiteY7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589911 w 1481363"/>
                      <a:gd name="connsiteY6" fmla="*/ 465265 h 520022"/>
                      <a:gd name="connsiteX7" fmla="*/ 0 w 1481363"/>
                      <a:gd name="connsiteY7" fmla="*/ 517823 h 520022"/>
                      <a:gd name="connsiteX8" fmla="*/ 41999 w 1481363"/>
                      <a:gd name="connsiteY8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892657 w 1481363"/>
                      <a:gd name="connsiteY6" fmla="*/ 507663 h 520022"/>
                      <a:gd name="connsiteX7" fmla="*/ 0 w 1481363"/>
                      <a:gd name="connsiteY7" fmla="*/ 517823 h 520022"/>
                      <a:gd name="connsiteX8" fmla="*/ 41999 w 1481363"/>
                      <a:gd name="connsiteY8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892657 w 1481363"/>
                      <a:gd name="connsiteY6" fmla="*/ 507663 h 520022"/>
                      <a:gd name="connsiteX7" fmla="*/ 464084 w 1481363"/>
                      <a:gd name="connsiteY7" fmla="*/ 509676 h 520022"/>
                      <a:gd name="connsiteX8" fmla="*/ 0 w 1481363"/>
                      <a:gd name="connsiteY8" fmla="*/ 517823 h 520022"/>
                      <a:gd name="connsiteX9" fmla="*/ 41999 w 1481363"/>
                      <a:gd name="connsiteY9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892657 w 1481363"/>
                      <a:gd name="connsiteY6" fmla="*/ 507663 h 520022"/>
                      <a:gd name="connsiteX7" fmla="*/ 593500 w 1481363"/>
                      <a:gd name="connsiteY7" fmla="*/ 516543 h 520022"/>
                      <a:gd name="connsiteX8" fmla="*/ 0 w 1481363"/>
                      <a:gd name="connsiteY8" fmla="*/ 517823 h 520022"/>
                      <a:gd name="connsiteX9" fmla="*/ 41999 w 1481363"/>
                      <a:gd name="connsiteY9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892657 w 1481363"/>
                      <a:gd name="connsiteY6" fmla="*/ 507663 h 520022"/>
                      <a:gd name="connsiteX7" fmla="*/ 593500 w 1481363"/>
                      <a:gd name="connsiteY7" fmla="*/ 516543 h 520022"/>
                      <a:gd name="connsiteX8" fmla="*/ 247880 w 1481363"/>
                      <a:gd name="connsiteY8" fmla="*/ 512531 h 520022"/>
                      <a:gd name="connsiteX9" fmla="*/ 0 w 1481363"/>
                      <a:gd name="connsiteY9" fmla="*/ 517823 h 520022"/>
                      <a:gd name="connsiteX10" fmla="*/ 41999 w 1481363"/>
                      <a:gd name="connsiteY10" fmla="*/ 0 h 520022"/>
                      <a:gd name="connsiteX0" fmla="*/ 41999 w 1481363"/>
                      <a:gd name="connsiteY0" fmla="*/ 0 h 520022"/>
                      <a:gd name="connsiteX1" fmla="*/ 1481363 w 1481363"/>
                      <a:gd name="connsiteY1" fmla="*/ 224060 h 520022"/>
                      <a:gd name="connsiteX2" fmla="*/ 1439106 w 1481363"/>
                      <a:gd name="connsiteY2" fmla="*/ 273019 h 520022"/>
                      <a:gd name="connsiteX3" fmla="*/ 1461289 w 1481363"/>
                      <a:gd name="connsiteY3" fmla="*/ 299571 h 520022"/>
                      <a:gd name="connsiteX4" fmla="*/ 1283314 w 1481363"/>
                      <a:gd name="connsiteY4" fmla="*/ 520022 h 520022"/>
                      <a:gd name="connsiteX5" fmla="*/ 1043925 w 1481363"/>
                      <a:gd name="connsiteY5" fmla="*/ 432179 h 520022"/>
                      <a:gd name="connsiteX6" fmla="*/ 892657 w 1481363"/>
                      <a:gd name="connsiteY6" fmla="*/ 507663 h 520022"/>
                      <a:gd name="connsiteX7" fmla="*/ 593500 w 1481363"/>
                      <a:gd name="connsiteY7" fmla="*/ 516543 h 520022"/>
                      <a:gd name="connsiteX8" fmla="*/ 324234 w 1481363"/>
                      <a:gd name="connsiteY8" fmla="*/ 413749 h 520022"/>
                      <a:gd name="connsiteX9" fmla="*/ 0 w 1481363"/>
                      <a:gd name="connsiteY9" fmla="*/ 517823 h 520022"/>
                      <a:gd name="connsiteX10" fmla="*/ 41999 w 1481363"/>
                      <a:gd name="connsiteY10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50658 w 1439364"/>
                      <a:gd name="connsiteY6" fmla="*/ 507663 h 520022"/>
                      <a:gd name="connsiteX7" fmla="*/ 551501 w 1439364"/>
                      <a:gd name="connsiteY7" fmla="*/ 516543 h 520022"/>
                      <a:gd name="connsiteX8" fmla="*/ 282235 w 1439364"/>
                      <a:gd name="connsiteY8" fmla="*/ 413749 h 520022"/>
                      <a:gd name="connsiteX9" fmla="*/ 102001 w 1439364"/>
                      <a:gd name="connsiteY9" fmla="*/ 260602 h 520022"/>
                      <a:gd name="connsiteX10" fmla="*/ 0 w 1439364"/>
                      <a:gd name="connsiteY10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50658 w 1439364"/>
                      <a:gd name="connsiteY6" fmla="*/ 507663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102001 w 1439364"/>
                      <a:gd name="connsiteY9" fmla="*/ 260602 h 520022"/>
                      <a:gd name="connsiteX10" fmla="*/ 0 w 1439364"/>
                      <a:gd name="connsiteY10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50658 w 1439364"/>
                      <a:gd name="connsiteY6" fmla="*/ 507663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250393 w 1439364"/>
                      <a:gd name="connsiteY9" fmla="*/ 383797 h 520022"/>
                      <a:gd name="connsiteX10" fmla="*/ 102001 w 1439364"/>
                      <a:gd name="connsiteY10" fmla="*/ 260602 h 520022"/>
                      <a:gd name="connsiteX11" fmla="*/ 0 w 1439364"/>
                      <a:gd name="connsiteY11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50658 w 1439364"/>
                      <a:gd name="connsiteY6" fmla="*/ 507663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234212 w 1439364"/>
                      <a:gd name="connsiteY9" fmla="*/ 403839 h 520022"/>
                      <a:gd name="connsiteX10" fmla="*/ 102001 w 1439364"/>
                      <a:gd name="connsiteY10" fmla="*/ 260602 h 520022"/>
                      <a:gd name="connsiteX11" fmla="*/ 0 w 1439364"/>
                      <a:gd name="connsiteY11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50658 w 1439364"/>
                      <a:gd name="connsiteY6" fmla="*/ 507663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234212 w 1439364"/>
                      <a:gd name="connsiteY9" fmla="*/ 403839 h 520022"/>
                      <a:gd name="connsiteX10" fmla="*/ 115908 w 1439364"/>
                      <a:gd name="connsiteY10" fmla="*/ 241274 h 520022"/>
                      <a:gd name="connsiteX11" fmla="*/ 0 w 1439364"/>
                      <a:gd name="connsiteY11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33573 w 1439364"/>
                      <a:gd name="connsiteY6" fmla="*/ 453127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234212 w 1439364"/>
                      <a:gd name="connsiteY9" fmla="*/ 403839 h 520022"/>
                      <a:gd name="connsiteX10" fmla="*/ 115908 w 1439364"/>
                      <a:gd name="connsiteY10" fmla="*/ 241274 h 520022"/>
                      <a:gd name="connsiteX11" fmla="*/ 0 w 1439364"/>
                      <a:gd name="connsiteY11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41570 w 1439364"/>
                      <a:gd name="connsiteY6" fmla="*/ 510511 h 520022"/>
                      <a:gd name="connsiteX7" fmla="*/ 551501 w 1439364"/>
                      <a:gd name="connsiteY7" fmla="*/ 516543 h 520022"/>
                      <a:gd name="connsiteX8" fmla="*/ 421949 w 1439364"/>
                      <a:gd name="connsiteY8" fmla="*/ 517205 h 520022"/>
                      <a:gd name="connsiteX9" fmla="*/ 234212 w 1439364"/>
                      <a:gd name="connsiteY9" fmla="*/ 403839 h 520022"/>
                      <a:gd name="connsiteX10" fmla="*/ 115908 w 1439364"/>
                      <a:gd name="connsiteY10" fmla="*/ 241274 h 520022"/>
                      <a:gd name="connsiteX11" fmla="*/ 0 w 1439364"/>
                      <a:gd name="connsiteY11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41570 w 1439364"/>
                      <a:gd name="connsiteY6" fmla="*/ 510511 h 520022"/>
                      <a:gd name="connsiteX7" fmla="*/ 677357 w 1439364"/>
                      <a:gd name="connsiteY7" fmla="*/ 512048 h 520022"/>
                      <a:gd name="connsiteX8" fmla="*/ 551501 w 1439364"/>
                      <a:gd name="connsiteY8" fmla="*/ 516543 h 520022"/>
                      <a:gd name="connsiteX9" fmla="*/ 421949 w 1439364"/>
                      <a:gd name="connsiteY9" fmla="*/ 517205 h 520022"/>
                      <a:gd name="connsiteX10" fmla="*/ 234212 w 1439364"/>
                      <a:gd name="connsiteY10" fmla="*/ 403839 h 520022"/>
                      <a:gd name="connsiteX11" fmla="*/ 115908 w 1439364"/>
                      <a:gd name="connsiteY11" fmla="*/ 241274 h 520022"/>
                      <a:gd name="connsiteX12" fmla="*/ 0 w 1439364"/>
                      <a:gd name="connsiteY12" fmla="*/ 0 h 520022"/>
                      <a:gd name="connsiteX0" fmla="*/ 0 w 1439364"/>
                      <a:gd name="connsiteY0" fmla="*/ 0 h 520022"/>
                      <a:gd name="connsiteX1" fmla="*/ 1439364 w 1439364"/>
                      <a:gd name="connsiteY1" fmla="*/ 224060 h 520022"/>
                      <a:gd name="connsiteX2" fmla="*/ 1397107 w 1439364"/>
                      <a:gd name="connsiteY2" fmla="*/ 273019 h 520022"/>
                      <a:gd name="connsiteX3" fmla="*/ 1419290 w 1439364"/>
                      <a:gd name="connsiteY3" fmla="*/ 299571 h 520022"/>
                      <a:gd name="connsiteX4" fmla="*/ 1241315 w 1439364"/>
                      <a:gd name="connsiteY4" fmla="*/ 520022 h 520022"/>
                      <a:gd name="connsiteX5" fmla="*/ 1001926 w 1439364"/>
                      <a:gd name="connsiteY5" fmla="*/ 432179 h 520022"/>
                      <a:gd name="connsiteX6" fmla="*/ 841570 w 1439364"/>
                      <a:gd name="connsiteY6" fmla="*/ 510511 h 520022"/>
                      <a:gd name="connsiteX7" fmla="*/ 685296 w 1439364"/>
                      <a:gd name="connsiteY7" fmla="*/ 489598 h 520022"/>
                      <a:gd name="connsiteX8" fmla="*/ 551501 w 1439364"/>
                      <a:gd name="connsiteY8" fmla="*/ 516543 h 520022"/>
                      <a:gd name="connsiteX9" fmla="*/ 421949 w 1439364"/>
                      <a:gd name="connsiteY9" fmla="*/ 517205 h 520022"/>
                      <a:gd name="connsiteX10" fmla="*/ 234212 w 1439364"/>
                      <a:gd name="connsiteY10" fmla="*/ 403839 h 520022"/>
                      <a:gd name="connsiteX11" fmla="*/ 115908 w 1439364"/>
                      <a:gd name="connsiteY11" fmla="*/ 241274 h 520022"/>
                      <a:gd name="connsiteX12" fmla="*/ 0 w 1439364"/>
                      <a:gd name="connsiteY12" fmla="*/ 0 h 520022"/>
                      <a:gd name="connsiteX0" fmla="*/ 0 w 1416913"/>
                      <a:gd name="connsiteY0" fmla="*/ 0 h 512083"/>
                      <a:gd name="connsiteX1" fmla="*/ 1416913 w 1416913"/>
                      <a:gd name="connsiteY1" fmla="*/ 216121 h 512083"/>
                      <a:gd name="connsiteX2" fmla="*/ 1374656 w 1416913"/>
                      <a:gd name="connsiteY2" fmla="*/ 265080 h 512083"/>
                      <a:gd name="connsiteX3" fmla="*/ 1396839 w 1416913"/>
                      <a:gd name="connsiteY3" fmla="*/ 291632 h 512083"/>
                      <a:gd name="connsiteX4" fmla="*/ 1218864 w 1416913"/>
                      <a:gd name="connsiteY4" fmla="*/ 512083 h 512083"/>
                      <a:gd name="connsiteX5" fmla="*/ 979475 w 1416913"/>
                      <a:gd name="connsiteY5" fmla="*/ 424240 h 512083"/>
                      <a:gd name="connsiteX6" fmla="*/ 819119 w 1416913"/>
                      <a:gd name="connsiteY6" fmla="*/ 502572 h 512083"/>
                      <a:gd name="connsiteX7" fmla="*/ 662845 w 1416913"/>
                      <a:gd name="connsiteY7" fmla="*/ 481659 h 512083"/>
                      <a:gd name="connsiteX8" fmla="*/ 529050 w 1416913"/>
                      <a:gd name="connsiteY8" fmla="*/ 508604 h 512083"/>
                      <a:gd name="connsiteX9" fmla="*/ 399498 w 1416913"/>
                      <a:gd name="connsiteY9" fmla="*/ 509266 h 512083"/>
                      <a:gd name="connsiteX10" fmla="*/ 211761 w 1416913"/>
                      <a:gd name="connsiteY10" fmla="*/ 395900 h 512083"/>
                      <a:gd name="connsiteX11" fmla="*/ 93457 w 1416913"/>
                      <a:gd name="connsiteY11" fmla="*/ 233335 h 512083"/>
                      <a:gd name="connsiteX12" fmla="*/ 0 w 1416913"/>
                      <a:gd name="connsiteY12" fmla="*/ 0 h 5120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</a:cxnLst>
                    <a:rect l="l" t="t" r="r" b="b"/>
                    <a:pathLst>
                      <a:path w="1416913" h="512083">
                        <a:moveTo>
                          <a:pt x="0" y="0"/>
                        </a:moveTo>
                        <a:lnTo>
                          <a:pt x="1416913" y="216121"/>
                        </a:lnTo>
                        <a:lnTo>
                          <a:pt x="1374656" y="265080"/>
                        </a:lnTo>
                        <a:lnTo>
                          <a:pt x="1396839" y="291632"/>
                        </a:lnTo>
                        <a:lnTo>
                          <a:pt x="1218864" y="512083"/>
                        </a:lnTo>
                        <a:lnTo>
                          <a:pt x="979475" y="424240"/>
                        </a:lnTo>
                        <a:lnTo>
                          <a:pt x="819119" y="502572"/>
                        </a:lnTo>
                        <a:lnTo>
                          <a:pt x="662845" y="481659"/>
                        </a:lnTo>
                        <a:lnTo>
                          <a:pt x="529050" y="508604"/>
                        </a:lnTo>
                        <a:lnTo>
                          <a:pt x="399498" y="509266"/>
                        </a:lnTo>
                        <a:lnTo>
                          <a:pt x="211761" y="395900"/>
                        </a:lnTo>
                        <a:lnTo>
                          <a:pt x="93457" y="23333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66B1B1"/>
                  </a:solidFill>
                  <a:ln w="6350">
                    <a:solidFill>
                      <a:schemeClr val="tx1"/>
                    </a:solidFill>
                    <a:prstDash val="solid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 dirty="0"/>
                  </a:p>
                </p:txBody>
              </p:sp>
              <p:cxnSp>
                <p:nvCxnSpPr>
                  <p:cNvPr id="7" name="Straight Connector 6">
                    <a:extLst>
                      <a:ext uri="{FF2B5EF4-FFF2-40B4-BE49-F238E27FC236}">
                        <a16:creationId xmlns:a16="http://schemas.microsoft.com/office/drawing/2014/main" id="{470938C3-7869-4C06-86E4-A524D925EF6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726238" y="1683544"/>
                    <a:ext cx="338139" cy="152400"/>
                  </a:xfrm>
                  <a:prstGeom prst="line">
                    <a:avLst/>
                  </a:prstGeom>
                  <a:ln w="63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Straight Connector 84">
                    <a:extLst>
                      <a:ext uri="{FF2B5EF4-FFF2-40B4-BE49-F238E27FC236}">
                        <a16:creationId xmlns:a16="http://schemas.microsoft.com/office/drawing/2014/main" id="{9DC7DB3F-F727-4B4D-AB04-4C6BC1544274}"/>
                      </a:ext>
                    </a:extLst>
                  </p:cNvPr>
                  <p:cNvCxnSpPr>
                    <a:cxnSpLocks/>
                    <a:stCxn id="83" idx="9"/>
                  </p:cNvCxnSpPr>
                  <p:nvPr/>
                </p:nvCxnSpPr>
                <p:spPr>
                  <a:xfrm flipH="1" flipV="1">
                    <a:off x="6547644" y="2048968"/>
                    <a:ext cx="400051" cy="189406"/>
                  </a:xfrm>
                  <a:prstGeom prst="line">
                    <a:avLst/>
                  </a:prstGeom>
                  <a:ln w="6350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57" name="TextBox 356">
                    <a:extLst>
                      <a:ext uri="{FF2B5EF4-FFF2-40B4-BE49-F238E27FC236}">
                        <a16:creationId xmlns:a16="http://schemas.microsoft.com/office/drawing/2014/main" id="{2A7EC56F-BD95-43DA-8947-DC7D5C651F70}"/>
                      </a:ext>
                    </a:extLst>
                  </p:cNvPr>
                  <p:cNvSpPr txBox="1"/>
                  <p:nvPr/>
                </p:nvSpPr>
                <p:spPr>
                  <a:xfrm>
                    <a:off x="6804887" y="1407885"/>
                    <a:ext cx="30117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a)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58" name="TextBox 357">
                    <a:extLst>
                      <a:ext uri="{FF2B5EF4-FFF2-40B4-BE49-F238E27FC236}">
                        <a16:creationId xmlns:a16="http://schemas.microsoft.com/office/drawing/2014/main" id="{4DA593ED-972A-46E1-B867-24B2CFEF943C}"/>
                      </a:ext>
                    </a:extLst>
                  </p:cNvPr>
                  <p:cNvSpPr txBox="1"/>
                  <p:nvPr/>
                </p:nvSpPr>
                <p:spPr>
                  <a:xfrm>
                    <a:off x="6675933" y="1881834"/>
                    <a:ext cx="30117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b)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59" name="TextBox 358">
                    <a:extLst>
                      <a:ext uri="{FF2B5EF4-FFF2-40B4-BE49-F238E27FC236}">
                        <a16:creationId xmlns:a16="http://schemas.microsoft.com/office/drawing/2014/main" id="{91AB1D5A-7DD7-44D2-A068-C9FE0E6C5F89}"/>
                      </a:ext>
                    </a:extLst>
                  </p:cNvPr>
                  <p:cNvSpPr txBox="1"/>
                  <p:nvPr/>
                </p:nvSpPr>
                <p:spPr>
                  <a:xfrm>
                    <a:off x="6481664" y="2179936"/>
                    <a:ext cx="30117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2c)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60" name="TextBox 359">
                    <a:extLst>
                      <a:ext uri="{FF2B5EF4-FFF2-40B4-BE49-F238E27FC236}">
                        <a16:creationId xmlns:a16="http://schemas.microsoft.com/office/drawing/2014/main" id="{0E792568-BEC7-432B-9BF0-F42241C44B96}"/>
                      </a:ext>
                    </a:extLst>
                  </p:cNvPr>
                  <p:cNvSpPr txBox="1"/>
                  <p:nvPr/>
                </p:nvSpPr>
                <p:spPr>
                  <a:xfrm rot="17858184">
                    <a:off x="6348809" y="1481410"/>
                    <a:ext cx="47850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10m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311" name="Straight Arrow Connector 310">
                    <a:extLst>
                      <a:ext uri="{FF2B5EF4-FFF2-40B4-BE49-F238E27FC236}">
                        <a16:creationId xmlns:a16="http://schemas.microsoft.com/office/drawing/2014/main" id="{EAFBB3D3-78F0-404D-9C4C-4EF2A990CE5C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518727" y="1200802"/>
                    <a:ext cx="299381" cy="617379"/>
                  </a:xfrm>
                  <a:prstGeom prst="straightConnector1">
                    <a:avLst/>
                  </a:prstGeom>
                  <a:ln>
                    <a:solidFill>
                      <a:schemeClr val="bg2">
                        <a:lumMod val="90000"/>
                      </a:schemeClr>
                    </a:solidFill>
                    <a:headEnd type="diamond"/>
                    <a:tailEnd type="diamon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63" name="TextBox 362">
                    <a:extLst>
                      <a:ext uri="{FF2B5EF4-FFF2-40B4-BE49-F238E27FC236}">
                        <a16:creationId xmlns:a16="http://schemas.microsoft.com/office/drawing/2014/main" id="{5A117324-4440-4684-A320-026BD330D373}"/>
                      </a:ext>
                    </a:extLst>
                  </p:cNvPr>
                  <p:cNvSpPr txBox="1"/>
                  <p:nvPr/>
                </p:nvSpPr>
                <p:spPr>
                  <a:xfrm rot="17816978">
                    <a:off x="6097326" y="1650519"/>
                    <a:ext cx="47850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DYBDE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365" name="Straight Arrow Connector 364">
                    <a:extLst>
                      <a:ext uri="{FF2B5EF4-FFF2-40B4-BE49-F238E27FC236}">
                        <a16:creationId xmlns:a16="http://schemas.microsoft.com/office/drawing/2014/main" id="{D96A8DA5-73B8-4228-9744-3E2BDA5C72D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403692" y="1817333"/>
                    <a:ext cx="108180" cy="223088"/>
                  </a:xfrm>
                  <a:prstGeom prst="straightConnector1">
                    <a:avLst/>
                  </a:prstGeom>
                  <a:ln>
                    <a:solidFill>
                      <a:schemeClr val="bg2">
                        <a:lumMod val="90000"/>
                      </a:schemeClr>
                    </a:solidFill>
                    <a:headEnd type="diamond"/>
                    <a:tailEnd type="diamon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8" name="Straight Arrow Connector 367">
                    <a:extLst>
                      <a:ext uri="{FF2B5EF4-FFF2-40B4-BE49-F238E27FC236}">
                        <a16:creationId xmlns:a16="http://schemas.microsoft.com/office/drawing/2014/main" id="{BF8B82F0-A4BC-4524-8C27-B248095E1F2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6293162" y="2043197"/>
                    <a:ext cx="108180" cy="223088"/>
                  </a:xfrm>
                  <a:prstGeom prst="straightConnector1">
                    <a:avLst/>
                  </a:prstGeom>
                  <a:ln>
                    <a:solidFill>
                      <a:schemeClr val="bg2">
                        <a:lumMod val="90000"/>
                      </a:schemeClr>
                    </a:solidFill>
                    <a:headEnd type="diamond"/>
                    <a:tailEnd type="diamond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69" name="TextBox 368">
                    <a:extLst>
                      <a:ext uri="{FF2B5EF4-FFF2-40B4-BE49-F238E27FC236}">
                        <a16:creationId xmlns:a16="http://schemas.microsoft.com/office/drawing/2014/main" id="{1242928C-4219-4943-A5E6-68EB521BD57F}"/>
                      </a:ext>
                    </a:extLst>
                  </p:cNvPr>
                  <p:cNvSpPr txBox="1"/>
                  <p:nvPr/>
                </p:nvSpPr>
                <p:spPr>
                  <a:xfrm rot="17858184">
                    <a:off x="6179661" y="1829752"/>
                    <a:ext cx="47850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6m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370" name="TextBox 369">
                    <a:extLst>
                      <a:ext uri="{FF2B5EF4-FFF2-40B4-BE49-F238E27FC236}">
                        <a16:creationId xmlns:a16="http://schemas.microsoft.com/office/drawing/2014/main" id="{51DBD65D-1903-4148-9B4C-1B793879E621}"/>
                      </a:ext>
                    </a:extLst>
                  </p:cNvPr>
                  <p:cNvSpPr txBox="1"/>
                  <p:nvPr/>
                </p:nvSpPr>
                <p:spPr>
                  <a:xfrm rot="17858184">
                    <a:off x="6070805" y="2057514"/>
                    <a:ext cx="478505" cy="161583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ctr"/>
                    <a:r>
                      <a:rPr lang="nb-NO" sz="800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4m</a:t>
                    </a:r>
                    <a:endParaRPr lang="en-GB" sz="800" dirty="0"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251" name="Rectangle 250">
                  <a:extLst>
                    <a:ext uri="{FF2B5EF4-FFF2-40B4-BE49-F238E27FC236}">
                      <a16:creationId xmlns:a16="http://schemas.microsoft.com/office/drawing/2014/main" id="{44ADE197-DECA-408C-944E-40A5FAB5DED1}"/>
                    </a:ext>
                  </a:extLst>
                </p:cNvPr>
                <p:cNvSpPr/>
                <p:nvPr/>
              </p:nvSpPr>
              <p:spPr>
                <a:xfrm>
                  <a:off x="8163956" y="2096629"/>
                  <a:ext cx="233981" cy="472211"/>
                </a:xfrm>
                <a:prstGeom prst="rect">
                  <a:avLst/>
                </a:prstGeom>
                <a:pattFill prst="wdUpDiag">
                  <a:fgClr>
                    <a:schemeClr val="tx1">
                      <a:lumMod val="25000"/>
                      <a:lumOff val="75000"/>
                    </a:schemeClr>
                  </a:fgClr>
                  <a:bgClr>
                    <a:srgbClr val="9966CC"/>
                  </a:bgClr>
                </a:patt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400"/>
                </a:p>
              </p:txBody>
            </p:sp>
          </p:grp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C9575582-94D0-4C40-A00A-8107748ADD18}"/>
              </a:ext>
            </a:extLst>
          </p:cNvPr>
          <p:cNvGrpSpPr/>
          <p:nvPr/>
        </p:nvGrpSpPr>
        <p:grpSpPr>
          <a:xfrm>
            <a:off x="7702967" y="1953325"/>
            <a:ext cx="4121712" cy="2172859"/>
            <a:chOff x="5777225" y="1464994"/>
            <a:chExt cx="3091284" cy="1629644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024F6A5-E322-4C7C-A4C2-055E95D498D5}"/>
                </a:ext>
              </a:extLst>
            </p:cNvPr>
            <p:cNvGrpSpPr/>
            <p:nvPr/>
          </p:nvGrpSpPr>
          <p:grpSpPr>
            <a:xfrm>
              <a:off x="5777225" y="1464994"/>
              <a:ext cx="3091284" cy="1629644"/>
              <a:chOff x="5777225" y="1464994"/>
              <a:chExt cx="3091284" cy="1629644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36939A9C-DF85-48C2-9E1F-09EC88BB4E84}"/>
                  </a:ext>
                </a:extLst>
              </p:cNvPr>
              <p:cNvSpPr/>
              <p:nvPr/>
            </p:nvSpPr>
            <p:spPr>
              <a:xfrm rot="17243720">
                <a:off x="6594521" y="2713244"/>
                <a:ext cx="349467" cy="413322"/>
              </a:xfrm>
              <a:custGeom>
                <a:avLst/>
                <a:gdLst>
                  <a:gd name="connsiteX0" fmla="*/ 0 w 311960"/>
                  <a:gd name="connsiteY0" fmla="*/ 0 h 404205"/>
                  <a:gd name="connsiteX1" fmla="*/ 311960 w 311960"/>
                  <a:gd name="connsiteY1" fmla="*/ 0 h 404205"/>
                  <a:gd name="connsiteX2" fmla="*/ 311960 w 311960"/>
                  <a:gd name="connsiteY2" fmla="*/ 404205 h 404205"/>
                  <a:gd name="connsiteX3" fmla="*/ 0 w 311960"/>
                  <a:gd name="connsiteY3" fmla="*/ 404205 h 404205"/>
                  <a:gd name="connsiteX4" fmla="*/ 0 w 311960"/>
                  <a:gd name="connsiteY4" fmla="*/ 0 h 404205"/>
                  <a:gd name="connsiteX0" fmla="*/ 0 w 311960"/>
                  <a:gd name="connsiteY0" fmla="*/ 0 h 409052"/>
                  <a:gd name="connsiteX1" fmla="*/ 311960 w 311960"/>
                  <a:gd name="connsiteY1" fmla="*/ 0 h 409052"/>
                  <a:gd name="connsiteX2" fmla="*/ 288524 w 311960"/>
                  <a:gd name="connsiteY2" fmla="*/ 409052 h 409052"/>
                  <a:gd name="connsiteX3" fmla="*/ 0 w 311960"/>
                  <a:gd name="connsiteY3" fmla="*/ 404205 h 409052"/>
                  <a:gd name="connsiteX4" fmla="*/ 0 w 311960"/>
                  <a:gd name="connsiteY4" fmla="*/ 0 h 409052"/>
                  <a:gd name="connsiteX0" fmla="*/ 30828 w 342788"/>
                  <a:gd name="connsiteY0" fmla="*/ 0 h 409052"/>
                  <a:gd name="connsiteX1" fmla="*/ 342788 w 342788"/>
                  <a:gd name="connsiteY1" fmla="*/ 0 h 409052"/>
                  <a:gd name="connsiteX2" fmla="*/ 319352 w 342788"/>
                  <a:gd name="connsiteY2" fmla="*/ 409052 h 409052"/>
                  <a:gd name="connsiteX3" fmla="*/ 0 w 342788"/>
                  <a:gd name="connsiteY3" fmla="*/ 401386 h 409052"/>
                  <a:gd name="connsiteX4" fmla="*/ 30828 w 342788"/>
                  <a:gd name="connsiteY4" fmla="*/ 0 h 409052"/>
                  <a:gd name="connsiteX0" fmla="*/ 30691 w 342788"/>
                  <a:gd name="connsiteY0" fmla="*/ 7529 h 409052"/>
                  <a:gd name="connsiteX1" fmla="*/ 342788 w 342788"/>
                  <a:gd name="connsiteY1" fmla="*/ 0 h 409052"/>
                  <a:gd name="connsiteX2" fmla="*/ 319352 w 342788"/>
                  <a:gd name="connsiteY2" fmla="*/ 409052 h 409052"/>
                  <a:gd name="connsiteX3" fmla="*/ 0 w 342788"/>
                  <a:gd name="connsiteY3" fmla="*/ 401386 h 409052"/>
                  <a:gd name="connsiteX4" fmla="*/ 30691 w 342788"/>
                  <a:gd name="connsiteY4" fmla="*/ 7529 h 409052"/>
                  <a:gd name="connsiteX0" fmla="*/ 30691 w 346620"/>
                  <a:gd name="connsiteY0" fmla="*/ 11224 h 412747"/>
                  <a:gd name="connsiteX1" fmla="*/ 346620 w 346620"/>
                  <a:gd name="connsiteY1" fmla="*/ 0 h 412747"/>
                  <a:gd name="connsiteX2" fmla="*/ 319352 w 346620"/>
                  <a:gd name="connsiteY2" fmla="*/ 412747 h 412747"/>
                  <a:gd name="connsiteX3" fmla="*/ 0 w 346620"/>
                  <a:gd name="connsiteY3" fmla="*/ 405081 h 412747"/>
                  <a:gd name="connsiteX4" fmla="*/ 30691 w 346620"/>
                  <a:gd name="connsiteY4" fmla="*/ 11224 h 412747"/>
                  <a:gd name="connsiteX0" fmla="*/ 33538 w 349467"/>
                  <a:gd name="connsiteY0" fmla="*/ 11224 h 412747"/>
                  <a:gd name="connsiteX1" fmla="*/ 349467 w 349467"/>
                  <a:gd name="connsiteY1" fmla="*/ 0 h 412747"/>
                  <a:gd name="connsiteX2" fmla="*/ 322199 w 349467"/>
                  <a:gd name="connsiteY2" fmla="*/ 412747 h 412747"/>
                  <a:gd name="connsiteX3" fmla="*/ 0 w 349467"/>
                  <a:gd name="connsiteY3" fmla="*/ 395991 h 412747"/>
                  <a:gd name="connsiteX4" fmla="*/ 33538 w 349467"/>
                  <a:gd name="connsiteY4" fmla="*/ 11224 h 412747"/>
                  <a:gd name="connsiteX0" fmla="*/ 33538 w 349467"/>
                  <a:gd name="connsiteY0" fmla="*/ 11224 h 413322"/>
                  <a:gd name="connsiteX1" fmla="*/ 349467 w 349467"/>
                  <a:gd name="connsiteY1" fmla="*/ 0 h 413322"/>
                  <a:gd name="connsiteX2" fmla="*/ 312398 w 349467"/>
                  <a:gd name="connsiteY2" fmla="*/ 413322 h 413322"/>
                  <a:gd name="connsiteX3" fmla="*/ 0 w 349467"/>
                  <a:gd name="connsiteY3" fmla="*/ 395991 h 413322"/>
                  <a:gd name="connsiteX4" fmla="*/ 33538 w 349467"/>
                  <a:gd name="connsiteY4" fmla="*/ 11224 h 413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9467" h="413322">
                    <a:moveTo>
                      <a:pt x="33538" y="11224"/>
                    </a:moveTo>
                    <a:lnTo>
                      <a:pt x="349467" y="0"/>
                    </a:lnTo>
                    <a:lnTo>
                      <a:pt x="312398" y="413322"/>
                    </a:lnTo>
                    <a:lnTo>
                      <a:pt x="0" y="395991"/>
                    </a:lnTo>
                    <a:lnTo>
                      <a:pt x="33538" y="11224"/>
                    </a:lnTo>
                    <a:close/>
                  </a:path>
                </a:pathLst>
              </a:custGeom>
              <a:solidFill>
                <a:srgbClr val="9966CC">
                  <a:alpha val="50196"/>
                </a:srgbClr>
              </a:solidFill>
              <a:ln w="9525">
                <a:solidFill>
                  <a:schemeClr val="accent4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94E1F030-36DD-4F87-9953-D065C5D0E08E}"/>
                  </a:ext>
                </a:extLst>
              </p:cNvPr>
              <p:cNvGrpSpPr/>
              <p:nvPr/>
            </p:nvGrpSpPr>
            <p:grpSpPr>
              <a:xfrm>
                <a:off x="5777225" y="1464994"/>
                <a:ext cx="3091284" cy="1544202"/>
                <a:chOff x="5777225" y="1464994"/>
                <a:chExt cx="3091284" cy="1544202"/>
              </a:xfrm>
            </p:grpSpPr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6872318F-C9BD-4AA6-A4BB-C57E27C361A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7067382" y="2754844"/>
                  <a:ext cx="2307" cy="74181"/>
                </a:xfrm>
                <a:prstGeom prst="line">
                  <a:avLst/>
                </a:prstGeom>
                <a:ln w="9525">
                  <a:solidFill>
                    <a:srgbClr val="C0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grpSp>
              <p:nvGrpSpPr>
                <p:cNvPr id="24" name="Group 23">
                  <a:extLst>
                    <a:ext uri="{FF2B5EF4-FFF2-40B4-BE49-F238E27FC236}">
                      <a16:creationId xmlns:a16="http://schemas.microsoft.com/office/drawing/2014/main" id="{DE42E94E-D272-43F8-81BF-4C7A26FB693D}"/>
                    </a:ext>
                  </a:extLst>
                </p:cNvPr>
                <p:cNvGrpSpPr/>
                <p:nvPr/>
              </p:nvGrpSpPr>
              <p:grpSpPr>
                <a:xfrm>
                  <a:off x="5777225" y="1464994"/>
                  <a:ext cx="3091284" cy="1544202"/>
                  <a:chOff x="5777225" y="1464994"/>
                  <a:chExt cx="3091284" cy="1544202"/>
                </a:xfrm>
              </p:grpSpPr>
              <p:grpSp>
                <p:nvGrpSpPr>
                  <p:cNvPr id="14" name="Group 13">
                    <a:extLst>
                      <a:ext uri="{FF2B5EF4-FFF2-40B4-BE49-F238E27FC236}">
                        <a16:creationId xmlns:a16="http://schemas.microsoft.com/office/drawing/2014/main" id="{D5DA1C1F-78FE-4C67-A0D2-01C653C73D8C}"/>
                      </a:ext>
                    </a:extLst>
                  </p:cNvPr>
                  <p:cNvGrpSpPr/>
                  <p:nvPr/>
                </p:nvGrpSpPr>
                <p:grpSpPr>
                  <a:xfrm>
                    <a:off x="6937454" y="1464994"/>
                    <a:ext cx="1931055" cy="1365767"/>
                    <a:chOff x="6937454" y="1464994"/>
                    <a:chExt cx="1931055" cy="1365767"/>
                  </a:xfrm>
                </p:grpSpPr>
                <p:grpSp>
                  <p:nvGrpSpPr>
                    <p:cNvPr id="233" name="Group 232">
                      <a:extLst>
                        <a:ext uri="{FF2B5EF4-FFF2-40B4-BE49-F238E27FC236}">
                          <a16:creationId xmlns:a16="http://schemas.microsoft.com/office/drawing/2014/main" id="{585FADA5-7240-4726-B035-54CB13DAC7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442621" y="2307725"/>
                      <a:ext cx="317339" cy="317601"/>
                      <a:chOff x="8204496" y="2117225"/>
                      <a:chExt cx="317339" cy="317601"/>
                    </a:xfrm>
                  </p:grpSpPr>
                  <p:sp>
                    <p:nvSpPr>
                      <p:cNvPr id="232" name="Oval 231">
                        <a:extLst>
                          <a:ext uri="{FF2B5EF4-FFF2-40B4-BE49-F238E27FC236}">
                            <a16:creationId xmlns:a16="http://schemas.microsoft.com/office/drawing/2014/main" id="{42FD4631-340D-48E2-8915-3DF13225BC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04496" y="2117225"/>
                        <a:ext cx="148929" cy="148929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  <a:alpha val="50196"/>
                        </a:schemeClr>
                      </a:solidFill>
                      <a:ln w="6350">
                        <a:solidFill>
                          <a:schemeClr val="tx1"/>
                        </a:solidFill>
                        <a:prstDash val="solid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en-GB" sz="2400"/>
                      </a:p>
                    </p:txBody>
                  </p:sp>
                  <p:sp>
                    <p:nvSpPr>
                      <p:cNvPr id="236" name="Oval 235">
                        <a:extLst>
                          <a:ext uri="{FF2B5EF4-FFF2-40B4-BE49-F238E27FC236}">
                            <a16:creationId xmlns:a16="http://schemas.microsoft.com/office/drawing/2014/main" id="{2141AF1D-D519-4191-B47D-AC55180132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72906" y="2117225"/>
                        <a:ext cx="148929" cy="148929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  <a:alpha val="50196"/>
                        </a:schemeClr>
                      </a:solidFill>
                      <a:ln w="6350">
                        <a:solidFill>
                          <a:schemeClr val="tx1"/>
                        </a:solidFill>
                        <a:prstDash val="solid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en-GB" sz="2400"/>
                      </a:p>
                    </p:txBody>
                  </p:sp>
                  <p:sp>
                    <p:nvSpPr>
                      <p:cNvPr id="237" name="Oval 236">
                        <a:extLst>
                          <a:ext uri="{FF2B5EF4-FFF2-40B4-BE49-F238E27FC236}">
                            <a16:creationId xmlns:a16="http://schemas.microsoft.com/office/drawing/2014/main" id="{989436F5-7E5C-4302-8C3A-14FF6E58C3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372906" y="2285897"/>
                        <a:ext cx="148929" cy="148929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  <a:alpha val="50196"/>
                        </a:schemeClr>
                      </a:solidFill>
                      <a:ln w="6350">
                        <a:solidFill>
                          <a:schemeClr val="tx1"/>
                        </a:solidFill>
                        <a:prstDash val="solid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en-GB" sz="2400"/>
                      </a:p>
                    </p:txBody>
                  </p:sp>
                  <p:sp>
                    <p:nvSpPr>
                      <p:cNvPr id="238" name="Oval 237">
                        <a:extLst>
                          <a:ext uri="{FF2B5EF4-FFF2-40B4-BE49-F238E27FC236}">
                            <a16:creationId xmlns:a16="http://schemas.microsoft.com/office/drawing/2014/main" id="{6B6EA422-3B95-4361-A4E7-C2C858441A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204496" y="2285897"/>
                        <a:ext cx="148929" cy="148929"/>
                      </a:xfrm>
                      <a:prstGeom prst="ellipse">
                        <a:avLst/>
                      </a:prstGeom>
                      <a:solidFill>
                        <a:schemeClr val="bg1">
                          <a:lumMod val="95000"/>
                          <a:alpha val="50196"/>
                        </a:schemeClr>
                      </a:solidFill>
                      <a:ln w="6350">
                        <a:solidFill>
                          <a:schemeClr val="tx1"/>
                        </a:solidFill>
                        <a:prstDash val="solid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  <a:prstTxWarp prst="textNoShape">
                          <a:avLst/>
                        </a:prstTxWarp>
                        <a:noAutofit/>
                      </a:bodyPr>
                      <a:lstStyle/>
                      <a:p>
                        <a:pPr algn="ctr"/>
                        <a:endParaRPr lang="en-GB" sz="2400"/>
                      </a:p>
                    </p:txBody>
                  </p:sp>
                </p:grpSp>
                <p:sp>
                  <p:nvSpPr>
                    <p:cNvPr id="356" name="TextBox 355">
                      <a:extLst>
                        <a:ext uri="{FF2B5EF4-FFF2-40B4-BE49-F238E27FC236}">
                          <a16:creationId xmlns:a16="http://schemas.microsoft.com/office/drawing/2014/main" id="{9434056F-125D-41F9-B156-2BBDB021A4C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334960" y="2591920"/>
                      <a:ext cx="533549" cy="16158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nb-NO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GER</a:t>
                      </a:r>
                      <a:endParaRPr lang="en-GB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12" name="Group 11">
                      <a:extLst>
                        <a:ext uri="{FF2B5EF4-FFF2-40B4-BE49-F238E27FC236}">
                          <a16:creationId xmlns:a16="http://schemas.microsoft.com/office/drawing/2014/main" id="{909BB556-4528-493F-98E2-CA7DA31FED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937454" y="1464994"/>
                      <a:ext cx="1654096" cy="1365767"/>
                      <a:chOff x="6937454" y="1464994"/>
                      <a:chExt cx="1654096" cy="1365767"/>
                    </a:xfrm>
                  </p:grpSpPr>
                  <p:sp>
                    <p:nvSpPr>
                      <p:cNvPr id="234" name="Rectangle 70">
                        <a:extLst>
                          <a:ext uri="{FF2B5EF4-FFF2-40B4-BE49-F238E27FC236}">
                            <a16:creationId xmlns:a16="http://schemas.microsoft.com/office/drawing/2014/main" id="{FF6057E5-CD17-410A-9412-6D76EC15C75C}"/>
                          </a:ext>
                        </a:extLst>
                      </p:cNvPr>
                      <p:cNvSpPr/>
                      <p:nvPr/>
                    </p:nvSpPr>
                    <p:spPr>
                      <a:xfrm rot="17243720">
                        <a:off x="7370963" y="1812582"/>
                        <a:ext cx="180642" cy="237400"/>
                      </a:xfrm>
                      <a:custGeom>
                        <a:avLst/>
                        <a:gdLst>
                          <a:gd name="connsiteX0" fmla="*/ 0 w 311960"/>
                          <a:gd name="connsiteY0" fmla="*/ 0 h 404205"/>
                          <a:gd name="connsiteX1" fmla="*/ 311960 w 311960"/>
                          <a:gd name="connsiteY1" fmla="*/ 0 h 404205"/>
                          <a:gd name="connsiteX2" fmla="*/ 311960 w 311960"/>
                          <a:gd name="connsiteY2" fmla="*/ 404205 h 404205"/>
                          <a:gd name="connsiteX3" fmla="*/ 0 w 311960"/>
                          <a:gd name="connsiteY3" fmla="*/ 404205 h 404205"/>
                          <a:gd name="connsiteX4" fmla="*/ 0 w 311960"/>
                          <a:gd name="connsiteY4" fmla="*/ 0 h 404205"/>
                          <a:gd name="connsiteX0" fmla="*/ 0 w 311960"/>
                          <a:gd name="connsiteY0" fmla="*/ 0 h 409052"/>
                          <a:gd name="connsiteX1" fmla="*/ 311960 w 311960"/>
                          <a:gd name="connsiteY1" fmla="*/ 0 h 409052"/>
                          <a:gd name="connsiteX2" fmla="*/ 288524 w 311960"/>
                          <a:gd name="connsiteY2" fmla="*/ 409052 h 409052"/>
                          <a:gd name="connsiteX3" fmla="*/ 0 w 311960"/>
                          <a:gd name="connsiteY3" fmla="*/ 404205 h 409052"/>
                          <a:gd name="connsiteX4" fmla="*/ 0 w 311960"/>
                          <a:gd name="connsiteY4" fmla="*/ 0 h 409052"/>
                          <a:gd name="connsiteX0" fmla="*/ 30828 w 342788"/>
                          <a:gd name="connsiteY0" fmla="*/ 0 h 409052"/>
                          <a:gd name="connsiteX1" fmla="*/ 342788 w 342788"/>
                          <a:gd name="connsiteY1" fmla="*/ 0 h 409052"/>
                          <a:gd name="connsiteX2" fmla="*/ 319352 w 342788"/>
                          <a:gd name="connsiteY2" fmla="*/ 409052 h 409052"/>
                          <a:gd name="connsiteX3" fmla="*/ 0 w 342788"/>
                          <a:gd name="connsiteY3" fmla="*/ 401386 h 409052"/>
                          <a:gd name="connsiteX4" fmla="*/ 30828 w 342788"/>
                          <a:gd name="connsiteY4" fmla="*/ 0 h 409052"/>
                          <a:gd name="connsiteX0" fmla="*/ 30691 w 342788"/>
                          <a:gd name="connsiteY0" fmla="*/ 7529 h 409052"/>
                          <a:gd name="connsiteX1" fmla="*/ 342788 w 342788"/>
                          <a:gd name="connsiteY1" fmla="*/ 0 h 409052"/>
                          <a:gd name="connsiteX2" fmla="*/ 319352 w 342788"/>
                          <a:gd name="connsiteY2" fmla="*/ 409052 h 409052"/>
                          <a:gd name="connsiteX3" fmla="*/ 0 w 342788"/>
                          <a:gd name="connsiteY3" fmla="*/ 401386 h 409052"/>
                          <a:gd name="connsiteX4" fmla="*/ 30691 w 342788"/>
                          <a:gd name="connsiteY4" fmla="*/ 7529 h 409052"/>
                          <a:gd name="connsiteX0" fmla="*/ 30691 w 346620"/>
                          <a:gd name="connsiteY0" fmla="*/ 11224 h 412747"/>
                          <a:gd name="connsiteX1" fmla="*/ 346620 w 346620"/>
                          <a:gd name="connsiteY1" fmla="*/ 0 h 412747"/>
                          <a:gd name="connsiteX2" fmla="*/ 319352 w 346620"/>
                          <a:gd name="connsiteY2" fmla="*/ 412747 h 412747"/>
                          <a:gd name="connsiteX3" fmla="*/ 0 w 346620"/>
                          <a:gd name="connsiteY3" fmla="*/ 405081 h 412747"/>
                          <a:gd name="connsiteX4" fmla="*/ 30691 w 346620"/>
                          <a:gd name="connsiteY4" fmla="*/ 11224 h 412747"/>
                          <a:gd name="connsiteX0" fmla="*/ 33538 w 349467"/>
                          <a:gd name="connsiteY0" fmla="*/ 11224 h 412747"/>
                          <a:gd name="connsiteX1" fmla="*/ 349467 w 349467"/>
                          <a:gd name="connsiteY1" fmla="*/ 0 h 412747"/>
                          <a:gd name="connsiteX2" fmla="*/ 322199 w 349467"/>
                          <a:gd name="connsiteY2" fmla="*/ 412747 h 412747"/>
                          <a:gd name="connsiteX3" fmla="*/ 0 w 349467"/>
                          <a:gd name="connsiteY3" fmla="*/ 395991 h 412747"/>
                          <a:gd name="connsiteX4" fmla="*/ 33538 w 349467"/>
                          <a:gd name="connsiteY4" fmla="*/ 11224 h 412747"/>
                          <a:gd name="connsiteX0" fmla="*/ 33538 w 349467"/>
                          <a:gd name="connsiteY0" fmla="*/ 11224 h 413322"/>
                          <a:gd name="connsiteX1" fmla="*/ 349467 w 349467"/>
                          <a:gd name="connsiteY1" fmla="*/ 0 h 413322"/>
                          <a:gd name="connsiteX2" fmla="*/ 312398 w 349467"/>
                          <a:gd name="connsiteY2" fmla="*/ 413322 h 413322"/>
                          <a:gd name="connsiteX3" fmla="*/ 0 w 349467"/>
                          <a:gd name="connsiteY3" fmla="*/ 395991 h 413322"/>
                          <a:gd name="connsiteX4" fmla="*/ 33538 w 349467"/>
                          <a:gd name="connsiteY4" fmla="*/ 11224 h 413322"/>
                          <a:gd name="connsiteX0" fmla="*/ 33538 w 349467"/>
                          <a:gd name="connsiteY0" fmla="*/ 11224 h 395991"/>
                          <a:gd name="connsiteX1" fmla="*/ 349467 w 349467"/>
                          <a:gd name="connsiteY1" fmla="*/ 0 h 395991"/>
                          <a:gd name="connsiteX2" fmla="*/ 346886 w 349467"/>
                          <a:gd name="connsiteY2" fmla="*/ 172942 h 395991"/>
                          <a:gd name="connsiteX3" fmla="*/ 0 w 349467"/>
                          <a:gd name="connsiteY3" fmla="*/ 395991 h 395991"/>
                          <a:gd name="connsiteX4" fmla="*/ 33538 w 349467"/>
                          <a:gd name="connsiteY4" fmla="*/ 11224 h 395991"/>
                          <a:gd name="connsiteX0" fmla="*/ 0 w 315929"/>
                          <a:gd name="connsiteY0" fmla="*/ 11224 h 209304"/>
                          <a:gd name="connsiteX1" fmla="*/ 315929 w 315929"/>
                          <a:gd name="connsiteY1" fmla="*/ 0 h 209304"/>
                          <a:gd name="connsiteX2" fmla="*/ 313348 w 315929"/>
                          <a:gd name="connsiteY2" fmla="*/ 172942 h 209304"/>
                          <a:gd name="connsiteX3" fmla="*/ 137549 w 315929"/>
                          <a:gd name="connsiteY3" fmla="*/ 209304 h 209304"/>
                          <a:gd name="connsiteX4" fmla="*/ 0 w 315929"/>
                          <a:gd name="connsiteY4" fmla="*/ 11224 h 209304"/>
                          <a:gd name="connsiteX0" fmla="*/ 29856 w 178380"/>
                          <a:gd name="connsiteY0" fmla="*/ 0 h 237218"/>
                          <a:gd name="connsiteX1" fmla="*/ 178380 w 178380"/>
                          <a:gd name="connsiteY1" fmla="*/ 27914 h 237218"/>
                          <a:gd name="connsiteX2" fmla="*/ 175799 w 178380"/>
                          <a:gd name="connsiteY2" fmla="*/ 200856 h 237218"/>
                          <a:gd name="connsiteX3" fmla="*/ 0 w 178380"/>
                          <a:gd name="connsiteY3" fmla="*/ 237218 h 237218"/>
                          <a:gd name="connsiteX4" fmla="*/ 29856 w 178380"/>
                          <a:gd name="connsiteY4" fmla="*/ 0 h 237218"/>
                          <a:gd name="connsiteX0" fmla="*/ 31572 w 180096"/>
                          <a:gd name="connsiteY0" fmla="*/ 0 h 221120"/>
                          <a:gd name="connsiteX1" fmla="*/ 180096 w 180096"/>
                          <a:gd name="connsiteY1" fmla="*/ 27914 h 221120"/>
                          <a:gd name="connsiteX2" fmla="*/ 177515 w 180096"/>
                          <a:gd name="connsiteY2" fmla="*/ 200856 h 221120"/>
                          <a:gd name="connsiteX3" fmla="*/ 0 w 180096"/>
                          <a:gd name="connsiteY3" fmla="*/ 221120 h 221120"/>
                          <a:gd name="connsiteX4" fmla="*/ 31572 w 180096"/>
                          <a:gd name="connsiteY4" fmla="*/ 0 h 221120"/>
                          <a:gd name="connsiteX0" fmla="*/ 19271 w 180096"/>
                          <a:gd name="connsiteY0" fmla="*/ 0 h 207285"/>
                          <a:gd name="connsiteX1" fmla="*/ 180096 w 180096"/>
                          <a:gd name="connsiteY1" fmla="*/ 14079 h 207285"/>
                          <a:gd name="connsiteX2" fmla="*/ 177515 w 180096"/>
                          <a:gd name="connsiteY2" fmla="*/ 187021 h 207285"/>
                          <a:gd name="connsiteX3" fmla="*/ 0 w 180096"/>
                          <a:gd name="connsiteY3" fmla="*/ 207285 h 207285"/>
                          <a:gd name="connsiteX4" fmla="*/ 19271 w 180096"/>
                          <a:gd name="connsiteY4" fmla="*/ 0 h 207285"/>
                          <a:gd name="connsiteX0" fmla="*/ 19817 w 180642"/>
                          <a:gd name="connsiteY0" fmla="*/ 0 h 237400"/>
                          <a:gd name="connsiteX1" fmla="*/ 180642 w 180642"/>
                          <a:gd name="connsiteY1" fmla="*/ 14079 h 237400"/>
                          <a:gd name="connsiteX2" fmla="*/ 178061 w 180642"/>
                          <a:gd name="connsiteY2" fmla="*/ 187021 h 237400"/>
                          <a:gd name="connsiteX3" fmla="*/ 0 w 180642"/>
                          <a:gd name="connsiteY3" fmla="*/ 237400 h 237400"/>
                          <a:gd name="connsiteX4" fmla="*/ 19817 w 180642"/>
                          <a:gd name="connsiteY4" fmla="*/ 0 h 237400"/>
                          <a:gd name="connsiteX0" fmla="*/ 19817 w 180642"/>
                          <a:gd name="connsiteY0" fmla="*/ 0 h 237400"/>
                          <a:gd name="connsiteX1" fmla="*/ 180642 w 180642"/>
                          <a:gd name="connsiteY1" fmla="*/ 14079 h 237400"/>
                          <a:gd name="connsiteX2" fmla="*/ 178061 w 180642"/>
                          <a:gd name="connsiteY2" fmla="*/ 187021 h 237400"/>
                          <a:gd name="connsiteX3" fmla="*/ 0 w 180642"/>
                          <a:gd name="connsiteY3" fmla="*/ 237400 h 237400"/>
                          <a:gd name="connsiteX4" fmla="*/ 19817 w 180642"/>
                          <a:gd name="connsiteY4" fmla="*/ 0 h 237400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80642" h="237400">
                            <a:moveTo>
                              <a:pt x="19817" y="0"/>
                            </a:moveTo>
                            <a:lnTo>
                              <a:pt x="180642" y="14079"/>
                            </a:lnTo>
                            <a:cubicBezTo>
                              <a:pt x="179782" y="71726"/>
                              <a:pt x="178921" y="129374"/>
                              <a:pt x="178061" y="187021"/>
                            </a:cubicBezTo>
                            <a:lnTo>
                              <a:pt x="0" y="237400"/>
                            </a:lnTo>
                            <a:lnTo>
                              <a:pt x="19817" y="0"/>
                            </a:lnTo>
                            <a:close/>
                          </a:path>
                        </a:pathLst>
                      </a:custGeom>
                      <a:solidFill>
                        <a:schemeClr val="bg1">
                          <a:lumMod val="95000"/>
                          <a:alpha val="50196"/>
                        </a:schemeClr>
                      </a:solidFill>
                      <a:ln w="6350">
                        <a:solidFill>
                          <a:schemeClr val="tx1"/>
                        </a:solidFill>
                        <a:prstDash val="solid"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GB" sz="2400" dirty="0"/>
                      </a:p>
                    </p:txBody>
                  </p:sp>
                  <p:grpSp>
                    <p:nvGrpSpPr>
                      <p:cNvPr id="274" name="Group 273">
                        <a:extLst>
                          <a:ext uri="{FF2B5EF4-FFF2-40B4-BE49-F238E27FC236}">
                            <a16:creationId xmlns:a16="http://schemas.microsoft.com/office/drawing/2014/main" id="{B99DEED2-A1E7-43D1-AC8E-A6422492E1BE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6937454" y="2451062"/>
                        <a:ext cx="322262" cy="321812"/>
                        <a:chOff x="553023" y="4134218"/>
                        <a:chExt cx="388394" cy="388394"/>
                      </a:xfrm>
                    </p:grpSpPr>
                    <p:sp>
                      <p:nvSpPr>
                        <p:cNvPr id="275" name="Oval 274">
                          <a:extLst>
                            <a:ext uri="{FF2B5EF4-FFF2-40B4-BE49-F238E27FC236}">
                              <a16:creationId xmlns:a16="http://schemas.microsoft.com/office/drawing/2014/main" id="{5B6F3D8C-9C47-4513-9DC2-8B12A4407B26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553023" y="4134218"/>
                          <a:ext cx="388394" cy="388394"/>
                        </a:xfrm>
                        <a:prstGeom prst="ellipse">
                          <a:avLst/>
                        </a:prstGeom>
                        <a:solidFill>
                          <a:srgbClr val="93CC00"/>
                        </a:solidFill>
                        <a:ln>
                          <a:noFill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nb-NO" sz="2400" dirty="0"/>
                        </a:p>
                      </p:txBody>
                    </p:sp>
                    <p:pic>
                      <p:nvPicPr>
                        <p:cNvPr id="276" name="Graphic 275" descr="Fire">
                          <a:extLst>
                            <a:ext uri="{FF2B5EF4-FFF2-40B4-BE49-F238E27FC236}">
                              <a16:creationId xmlns:a16="http://schemas.microsoft.com/office/drawing/2014/main" id="{DE189D24-956C-47C0-9AD3-30C2183E3755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10" cstate="print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96DAC541-7B7A-43D3-8B79-37D633B846F1}">
                              <asvg:svgBlip xmlns:asvg="http://schemas.microsoft.com/office/drawing/2016/SVG/main" r:embed="rId11"/>
                            </a:ext>
                          </a:extLst>
                        </a:blip>
                        <a:stretch>
                          <a:fillRect/>
                        </a:stretch>
                      </p:blipFill>
                      <p:spPr>
                        <a:xfrm>
                          <a:off x="616655" y="4188157"/>
                          <a:ext cx="269860" cy="269856"/>
                        </a:xfrm>
                        <a:prstGeom prst="rect">
                          <a:avLst/>
                        </a:prstGeom>
                      </p:spPr>
                    </p:pic>
                  </p:grpSp>
                  <p:grpSp>
                    <p:nvGrpSpPr>
                      <p:cNvPr id="189460" name="Group 189459">
                        <a:extLst>
                          <a:ext uri="{FF2B5EF4-FFF2-40B4-BE49-F238E27FC236}">
                            <a16:creationId xmlns:a16="http://schemas.microsoft.com/office/drawing/2014/main" id="{89DE1063-86AC-4615-B0E9-5BEA3F006E59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7560909" y="2116266"/>
                        <a:ext cx="558920" cy="558140"/>
                        <a:chOff x="7460425" y="2111241"/>
                        <a:chExt cx="558920" cy="558140"/>
                      </a:xfrm>
                    </p:grpSpPr>
                    <p:sp>
                      <p:nvSpPr>
                        <p:cNvPr id="281" name="Oval 280">
                          <a:extLst>
                            <a:ext uri="{FF2B5EF4-FFF2-40B4-BE49-F238E27FC236}">
                              <a16:creationId xmlns:a16="http://schemas.microsoft.com/office/drawing/2014/main" id="{B664C142-B7A4-4813-A209-1BDA480EA75A}"/>
                            </a:ext>
                          </a:extLst>
                        </p:cNvPr>
                        <p:cNvSpPr/>
                        <p:nvPr/>
                      </p:nvSpPr>
                      <p:spPr>
                        <a:xfrm>
                          <a:off x="7460425" y="2111241"/>
                          <a:ext cx="558920" cy="558140"/>
                        </a:xfrm>
                        <a:prstGeom prst="ellipse">
                          <a:avLst/>
                        </a:prstGeom>
                        <a:solidFill>
                          <a:srgbClr val="93CC00"/>
                        </a:solidFill>
                        <a:ln>
                          <a:noFill/>
                        </a:ln>
                        <a:effectLst>
                          <a:outerShdw blurRad="50800" dist="38100" dir="2700000" algn="tl" rotWithShape="0">
                            <a:prstClr val="black">
                              <a:alpha val="40000"/>
                            </a:prstClr>
                          </a:outerShdw>
                        </a:effectLst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nb-NO" sz="2400" dirty="0"/>
                        </a:p>
                      </p:txBody>
                    </p:sp>
                    <p:pic>
                      <p:nvPicPr>
                        <p:cNvPr id="297" name="Picture 296">
                          <a:extLst>
                            <a:ext uri="{FF2B5EF4-FFF2-40B4-BE49-F238E27FC236}">
                              <a16:creationId xmlns:a16="http://schemas.microsoft.com/office/drawing/2014/main" id="{05DCD17C-ECE5-42C5-9282-22B50A7E117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 rotWithShape="1">
                        <a:blip r:embed="rId12">
                          <a:lum bright="70000" contrast="-70000"/>
                        </a:blip>
                        <a:srcRect l="-3785" t="43" r="3785" b="-6452"/>
                        <a:stretch/>
                      </p:blipFill>
                      <p:spPr>
                        <a:xfrm>
                          <a:off x="7527818" y="2199866"/>
                          <a:ext cx="428561" cy="456032"/>
                        </a:xfrm>
                        <a:prstGeom prst="rect">
                          <a:avLst/>
                        </a:prstGeom>
                      </p:spPr>
                    </p:pic>
                  </p:grpSp>
                  <p:sp>
                    <p:nvSpPr>
                      <p:cNvPr id="405" name="TextBox 404">
                        <a:extLst>
                          <a:ext uri="{FF2B5EF4-FFF2-40B4-BE49-F238E27FC236}">
                            <a16:creationId xmlns:a16="http://schemas.microsoft.com/office/drawing/2014/main" id="{2B0EE0EF-0B03-4F9F-8087-C35BF82BD5D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7136242" y="2576846"/>
                        <a:ext cx="710153" cy="2539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nb-NO" sz="800" dirty="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  SENTRAL</a:t>
                        </a:r>
                      </a:p>
                      <a:p>
                        <a:r>
                          <a:rPr lang="nb-NO" sz="800" dirty="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FJERNVARME</a:t>
                        </a:r>
                        <a:endParaRPr lang="en-GB" sz="800" dirty="0"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  <p:cxnSp>
                    <p:nvCxnSpPr>
                      <p:cNvPr id="240" name="Straight Connector 239">
                        <a:extLst>
                          <a:ext uri="{FF2B5EF4-FFF2-40B4-BE49-F238E27FC236}">
                            <a16:creationId xmlns:a16="http://schemas.microsoft.com/office/drawing/2014/main" id="{98635E08-B9DA-44FB-83C6-13DF67FB266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7079198" y="1464994"/>
                        <a:ext cx="1512352" cy="820824"/>
                      </a:xfrm>
                      <a:prstGeom prst="line">
                        <a:avLst/>
                      </a:prstGeom>
                      <a:ln w="12700">
                        <a:solidFill>
                          <a:schemeClr val="accent2"/>
                        </a:solidFill>
                        <a:headEnd type="oval" w="sm" len="sm"/>
                        <a:tailEnd type="oval" w="sm" len="sm"/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sp>
                    <p:nvSpPr>
                      <p:cNvPr id="404" name="TextBox 403">
                        <a:extLst>
                          <a:ext uri="{FF2B5EF4-FFF2-40B4-BE49-F238E27FC236}">
                            <a16:creationId xmlns:a16="http://schemas.microsoft.com/office/drawing/2014/main" id="{C914FD49-94F5-4A9E-82AF-B690A949B8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7477616" y="1822914"/>
                        <a:ext cx="781168" cy="253915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nb-NO" sz="800" dirty="0">
                            <a:latin typeface="Arial" panose="020B0604020202020204" pitchFamily="34" charset="0"/>
                            <a:cs typeface="Arial" panose="020B0604020202020204" pitchFamily="34" charset="0"/>
                          </a:rPr>
                          <a:t>KOMPETANSE- HUB</a:t>
                        </a:r>
                        <a:endParaRPr lang="en-GB" sz="800" dirty="0">
                          <a:latin typeface="Arial" panose="020B0604020202020204" pitchFamily="34" charset="0"/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</p:grpSp>
              <p:grpSp>
                <p:nvGrpSpPr>
                  <p:cNvPr id="23" name="Group 22">
                    <a:extLst>
                      <a:ext uri="{FF2B5EF4-FFF2-40B4-BE49-F238E27FC236}">
                        <a16:creationId xmlns:a16="http://schemas.microsoft.com/office/drawing/2014/main" id="{F01FEE42-DC4C-489A-A4EC-B3AB685F93CA}"/>
                      </a:ext>
                    </a:extLst>
                  </p:cNvPr>
                  <p:cNvGrpSpPr/>
                  <p:nvPr/>
                </p:nvGrpSpPr>
                <p:grpSpPr>
                  <a:xfrm>
                    <a:off x="5777225" y="2506293"/>
                    <a:ext cx="1138078" cy="502903"/>
                    <a:chOff x="5777225" y="2506293"/>
                    <a:chExt cx="1138078" cy="502903"/>
                  </a:xfrm>
                </p:grpSpPr>
                <p:sp>
                  <p:nvSpPr>
                    <p:cNvPr id="254" name="Rectangle 253">
                      <a:extLst>
                        <a:ext uri="{FF2B5EF4-FFF2-40B4-BE49-F238E27FC236}">
                          <a16:creationId xmlns:a16="http://schemas.microsoft.com/office/drawing/2014/main" id="{F169F8B6-83C0-4871-A5E2-F621E54D201B}"/>
                        </a:ext>
                      </a:extLst>
                    </p:cNvPr>
                    <p:cNvSpPr/>
                    <p:nvPr/>
                  </p:nvSpPr>
                  <p:spPr>
                    <a:xfrm rot="6827397">
                      <a:off x="6631223" y="2811832"/>
                      <a:ext cx="131421" cy="129946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  <a:alpha val="50196"/>
                      </a:schemeClr>
                    </a:solidFill>
                    <a:ln w="6350"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GB" sz="933"/>
                    </a:p>
                  </p:txBody>
                </p:sp>
                <p:sp>
                  <p:nvSpPr>
                    <p:cNvPr id="255" name="Rectangle 254">
                      <a:extLst>
                        <a:ext uri="{FF2B5EF4-FFF2-40B4-BE49-F238E27FC236}">
                          <a16:creationId xmlns:a16="http://schemas.microsoft.com/office/drawing/2014/main" id="{AFFF5719-8D1A-4D3A-9B81-1D809469AA52}"/>
                        </a:ext>
                      </a:extLst>
                    </p:cNvPr>
                    <p:cNvSpPr/>
                    <p:nvPr/>
                  </p:nvSpPr>
                  <p:spPr>
                    <a:xfrm rot="6827397">
                      <a:off x="6784619" y="2878513"/>
                      <a:ext cx="131421" cy="129946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  <a:alpha val="50196"/>
                      </a:schemeClr>
                    </a:solidFill>
                    <a:ln w="6350"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GB" sz="933"/>
                    </a:p>
                  </p:txBody>
                </p:sp>
                <p:sp>
                  <p:nvSpPr>
                    <p:cNvPr id="406" name="TextBox 405">
                      <a:extLst>
                        <a:ext uri="{FF2B5EF4-FFF2-40B4-BE49-F238E27FC236}">
                          <a16:creationId xmlns:a16="http://schemas.microsoft.com/office/drawing/2014/main" id="{AD68483E-0AC1-40C0-919F-A2C04CCC2BB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777225" y="2630717"/>
                      <a:ext cx="859285" cy="161583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r>
                        <a:rPr lang="nb-NO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VERANDØRER</a:t>
                      </a:r>
                      <a:endParaRPr lang="en-GB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189453" name="Straight Connector 189452">
                      <a:extLst>
                        <a:ext uri="{FF2B5EF4-FFF2-40B4-BE49-F238E27FC236}">
                          <a16:creationId xmlns:a16="http://schemas.microsoft.com/office/drawing/2014/main" id="{1C4E41C2-0933-4B50-8957-2007EE67B4EF}"/>
                        </a:ext>
                      </a:extLst>
                    </p:cNvPr>
                    <p:cNvCxnSpPr>
                      <a:cxnSpLocks/>
                      <a:endCxn id="254" idx="2"/>
                    </p:cNvCxnSpPr>
                    <p:nvPr/>
                  </p:nvCxnSpPr>
                  <p:spPr>
                    <a:xfrm>
                      <a:off x="6514477" y="2754844"/>
                      <a:ext cx="123004" cy="95752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418" name="Straight Connector 417">
                      <a:extLst>
                        <a:ext uri="{FF2B5EF4-FFF2-40B4-BE49-F238E27FC236}">
                          <a16:creationId xmlns:a16="http://schemas.microsoft.com/office/drawing/2014/main" id="{E0B8EB85-3294-411C-BF8A-AD21E17CECA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V="1">
                      <a:off x="6516356" y="2607547"/>
                      <a:ext cx="165798" cy="90436"/>
                    </a:xfrm>
                    <a:prstGeom prst="line">
                      <a:avLst/>
                    </a:prstGeom>
                    <a:ln>
                      <a:solidFill>
                        <a:schemeClr val="tx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270" name="Rectangle 269">
                      <a:extLst>
                        <a:ext uri="{FF2B5EF4-FFF2-40B4-BE49-F238E27FC236}">
                          <a16:creationId xmlns:a16="http://schemas.microsoft.com/office/drawing/2014/main" id="{DA902A2A-65B1-4F0C-93D6-7874916F8135}"/>
                        </a:ext>
                      </a:extLst>
                    </p:cNvPr>
                    <p:cNvSpPr/>
                    <p:nvPr/>
                  </p:nvSpPr>
                  <p:spPr>
                    <a:xfrm rot="6827397">
                      <a:off x="6694126" y="2507031"/>
                      <a:ext cx="131421" cy="129946"/>
                    </a:xfrm>
                    <a:prstGeom prst="rect">
                      <a:avLst/>
                    </a:prstGeom>
                    <a:solidFill>
                      <a:schemeClr val="bg1">
                        <a:lumMod val="95000"/>
                        <a:alpha val="50196"/>
                      </a:schemeClr>
                    </a:solidFill>
                    <a:ln w="6350"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1">
                      <a:schemeClr val="accent1"/>
                    </a:lnRef>
                    <a:fillRef idx="3">
                      <a:schemeClr val="accent1"/>
                    </a:fillRef>
                    <a:effectRef idx="2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GB" sz="933"/>
                    </a:p>
                  </p:txBody>
                </p:sp>
                <p:cxnSp>
                  <p:nvCxnSpPr>
                    <p:cNvPr id="156" name="Straight Connector 155">
                      <a:extLst>
                        <a:ext uri="{FF2B5EF4-FFF2-40B4-BE49-F238E27FC236}">
                          <a16:creationId xmlns:a16="http://schemas.microsoft.com/office/drawing/2014/main" id="{6BC25AB7-3D6A-4FB2-86A8-16931FE37E1D}"/>
                        </a:ext>
                      </a:extLst>
                    </p:cNvPr>
                    <p:cNvCxnSpPr>
                      <a:cxnSpLocks/>
                      <a:stCxn id="255" idx="2"/>
                    </p:cNvCxnSpPr>
                    <p:nvPr/>
                  </p:nvCxnSpPr>
                  <p:spPr>
                    <a:xfrm flipH="1" flipV="1">
                      <a:off x="6764371" y="2591921"/>
                      <a:ext cx="26506" cy="325356"/>
                    </a:xfrm>
                    <a:prstGeom prst="line">
                      <a:avLst/>
                    </a:prstGeom>
                    <a:ln w="12700">
                      <a:solidFill>
                        <a:srgbClr val="C00000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F3B82E41-A8DF-47FF-9440-1041AB131AE8}"/>
                </a:ext>
              </a:extLst>
            </p:cNvPr>
            <p:cNvCxnSpPr>
              <a:cxnSpLocks/>
              <a:stCxn id="185" idx="1"/>
            </p:cNvCxnSpPr>
            <p:nvPr/>
          </p:nvCxnSpPr>
          <p:spPr>
            <a:xfrm flipH="1" flipV="1">
              <a:off x="6777038" y="2724150"/>
              <a:ext cx="274980" cy="103101"/>
            </a:xfrm>
            <a:prstGeom prst="line">
              <a:avLst/>
            </a:prstGeom>
            <a:ln w="127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F9ECCA3C-0001-47D9-B704-EE1EF0B85F14}"/>
              </a:ext>
            </a:extLst>
          </p:cNvPr>
          <p:cNvGrpSpPr/>
          <p:nvPr/>
        </p:nvGrpSpPr>
        <p:grpSpPr>
          <a:xfrm>
            <a:off x="5638507" y="0"/>
            <a:ext cx="5736327" cy="6794501"/>
            <a:chOff x="4228880" y="0"/>
            <a:chExt cx="4302245" cy="5095876"/>
          </a:xfrm>
        </p:grpSpPr>
        <p:sp>
          <p:nvSpPr>
            <p:cNvPr id="194" name="Oval 193">
              <a:extLst>
                <a:ext uri="{FF2B5EF4-FFF2-40B4-BE49-F238E27FC236}">
                  <a16:creationId xmlns:a16="http://schemas.microsoft.com/office/drawing/2014/main" id="{EAC1BBC0-CFD9-416E-AC0C-F92A3F29BD0B}"/>
                </a:ext>
              </a:extLst>
            </p:cNvPr>
            <p:cNvSpPr/>
            <p:nvPr/>
          </p:nvSpPr>
          <p:spPr>
            <a:xfrm>
              <a:off x="6242688" y="3684421"/>
              <a:ext cx="36000" cy="36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400"/>
            </a:p>
          </p:txBody>
        </p: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31F632A6-823C-4E38-9E0C-A60E98958173}"/>
                </a:ext>
              </a:extLst>
            </p:cNvPr>
            <p:cNvGrpSpPr/>
            <p:nvPr/>
          </p:nvGrpSpPr>
          <p:grpSpPr>
            <a:xfrm>
              <a:off x="4228880" y="0"/>
              <a:ext cx="4302245" cy="5095876"/>
              <a:chOff x="4228880" y="0"/>
              <a:chExt cx="4302245" cy="5095876"/>
            </a:xfrm>
          </p:grpSpPr>
          <p:cxnSp>
            <p:nvCxnSpPr>
              <p:cNvPr id="195" name="Straight Connector 194">
                <a:extLst>
                  <a:ext uri="{FF2B5EF4-FFF2-40B4-BE49-F238E27FC236}">
                    <a16:creationId xmlns:a16="http://schemas.microsoft.com/office/drawing/2014/main" id="{E9797C2A-F697-4548-98EF-446C2401F6FB}"/>
                  </a:ext>
                </a:extLst>
              </p:cNvPr>
              <p:cNvCxnSpPr>
                <a:cxnSpLocks/>
                <a:stCxn id="66" idx="2"/>
                <a:endCxn id="194" idx="0"/>
              </p:cNvCxnSpPr>
              <p:nvPr/>
            </p:nvCxnSpPr>
            <p:spPr>
              <a:xfrm flipH="1">
                <a:off x="6260688" y="2677049"/>
                <a:ext cx="341241" cy="1007372"/>
              </a:xfrm>
              <a:prstGeom prst="line">
                <a:avLst/>
              </a:prstGeom>
              <a:ln w="9525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618A8E5A-A1F8-4A88-A2E3-4BC5189FABB7}"/>
                  </a:ext>
                </a:extLst>
              </p:cNvPr>
              <p:cNvGrpSpPr/>
              <p:nvPr/>
            </p:nvGrpSpPr>
            <p:grpSpPr>
              <a:xfrm>
                <a:off x="4228880" y="0"/>
                <a:ext cx="4302245" cy="5095876"/>
                <a:chOff x="4228880" y="0"/>
                <a:chExt cx="4302245" cy="5095876"/>
              </a:xfrm>
            </p:grpSpPr>
            <p:sp>
              <p:nvSpPr>
                <p:cNvPr id="144" name="Oval 143">
                  <a:extLst>
                    <a:ext uri="{FF2B5EF4-FFF2-40B4-BE49-F238E27FC236}">
                      <a16:creationId xmlns:a16="http://schemas.microsoft.com/office/drawing/2014/main" id="{EE05997E-638F-460A-9CF8-C064BA2E776F}"/>
                    </a:ext>
                  </a:extLst>
                </p:cNvPr>
                <p:cNvSpPr/>
                <p:nvPr/>
              </p:nvSpPr>
              <p:spPr>
                <a:xfrm>
                  <a:off x="8495125" y="3320856"/>
                  <a:ext cx="36000" cy="36000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400"/>
                </a:p>
              </p:txBody>
            </p:sp>
            <p:sp>
              <p:nvSpPr>
                <p:cNvPr id="191" name="Oval 190">
                  <a:extLst>
                    <a:ext uri="{FF2B5EF4-FFF2-40B4-BE49-F238E27FC236}">
                      <a16:creationId xmlns:a16="http://schemas.microsoft.com/office/drawing/2014/main" id="{F9CD1D56-A982-40AF-999D-4838196C580F}"/>
                    </a:ext>
                  </a:extLst>
                </p:cNvPr>
                <p:cNvSpPr/>
                <p:nvPr/>
              </p:nvSpPr>
              <p:spPr>
                <a:xfrm>
                  <a:off x="8311305" y="3390162"/>
                  <a:ext cx="36000" cy="36000"/>
                </a:xfrm>
                <a:prstGeom prst="ellipse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2400"/>
                </a:p>
              </p:txBody>
            </p:sp>
            <p:grpSp>
              <p:nvGrpSpPr>
                <p:cNvPr id="38" name="Group 37">
                  <a:extLst>
                    <a:ext uri="{FF2B5EF4-FFF2-40B4-BE49-F238E27FC236}">
                      <a16:creationId xmlns:a16="http://schemas.microsoft.com/office/drawing/2014/main" id="{0F58E22E-32E8-4462-808B-865D3A47BE24}"/>
                    </a:ext>
                  </a:extLst>
                </p:cNvPr>
                <p:cNvGrpSpPr/>
                <p:nvPr/>
              </p:nvGrpSpPr>
              <p:grpSpPr>
                <a:xfrm>
                  <a:off x="4228880" y="0"/>
                  <a:ext cx="4278504" cy="5095876"/>
                  <a:chOff x="4228880" y="0"/>
                  <a:chExt cx="4278504" cy="5095876"/>
                </a:xfrm>
              </p:grpSpPr>
              <p:sp>
                <p:nvSpPr>
                  <p:cNvPr id="72" name="Rectangle 70">
                    <a:extLst>
                      <a:ext uri="{FF2B5EF4-FFF2-40B4-BE49-F238E27FC236}">
                        <a16:creationId xmlns:a16="http://schemas.microsoft.com/office/drawing/2014/main" id="{C0CA1F5F-F058-4A75-B6EE-19B2BEB342F6}"/>
                      </a:ext>
                    </a:extLst>
                  </p:cNvPr>
                  <p:cNvSpPr/>
                  <p:nvPr/>
                </p:nvSpPr>
                <p:spPr>
                  <a:xfrm rot="17243720">
                    <a:off x="7959026" y="3134598"/>
                    <a:ext cx="427440" cy="669277"/>
                  </a:xfrm>
                  <a:custGeom>
                    <a:avLst/>
                    <a:gdLst>
                      <a:gd name="connsiteX0" fmla="*/ 0 w 311960"/>
                      <a:gd name="connsiteY0" fmla="*/ 0 h 404205"/>
                      <a:gd name="connsiteX1" fmla="*/ 311960 w 311960"/>
                      <a:gd name="connsiteY1" fmla="*/ 0 h 404205"/>
                      <a:gd name="connsiteX2" fmla="*/ 311960 w 311960"/>
                      <a:gd name="connsiteY2" fmla="*/ 404205 h 404205"/>
                      <a:gd name="connsiteX3" fmla="*/ 0 w 311960"/>
                      <a:gd name="connsiteY3" fmla="*/ 404205 h 404205"/>
                      <a:gd name="connsiteX4" fmla="*/ 0 w 311960"/>
                      <a:gd name="connsiteY4" fmla="*/ 0 h 404205"/>
                      <a:gd name="connsiteX0" fmla="*/ 0 w 311960"/>
                      <a:gd name="connsiteY0" fmla="*/ 0 h 409052"/>
                      <a:gd name="connsiteX1" fmla="*/ 311960 w 311960"/>
                      <a:gd name="connsiteY1" fmla="*/ 0 h 409052"/>
                      <a:gd name="connsiteX2" fmla="*/ 288524 w 311960"/>
                      <a:gd name="connsiteY2" fmla="*/ 409052 h 409052"/>
                      <a:gd name="connsiteX3" fmla="*/ 0 w 311960"/>
                      <a:gd name="connsiteY3" fmla="*/ 404205 h 409052"/>
                      <a:gd name="connsiteX4" fmla="*/ 0 w 311960"/>
                      <a:gd name="connsiteY4" fmla="*/ 0 h 409052"/>
                      <a:gd name="connsiteX0" fmla="*/ 30828 w 342788"/>
                      <a:gd name="connsiteY0" fmla="*/ 0 h 409052"/>
                      <a:gd name="connsiteX1" fmla="*/ 342788 w 342788"/>
                      <a:gd name="connsiteY1" fmla="*/ 0 h 409052"/>
                      <a:gd name="connsiteX2" fmla="*/ 319352 w 342788"/>
                      <a:gd name="connsiteY2" fmla="*/ 409052 h 409052"/>
                      <a:gd name="connsiteX3" fmla="*/ 0 w 342788"/>
                      <a:gd name="connsiteY3" fmla="*/ 401386 h 409052"/>
                      <a:gd name="connsiteX4" fmla="*/ 30828 w 342788"/>
                      <a:gd name="connsiteY4" fmla="*/ 0 h 409052"/>
                      <a:gd name="connsiteX0" fmla="*/ 30691 w 342788"/>
                      <a:gd name="connsiteY0" fmla="*/ 7529 h 409052"/>
                      <a:gd name="connsiteX1" fmla="*/ 342788 w 342788"/>
                      <a:gd name="connsiteY1" fmla="*/ 0 h 409052"/>
                      <a:gd name="connsiteX2" fmla="*/ 319352 w 342788"/>
                      <a:gd name="connsiteY2" fmla="*/ 409052 h 409052"/>
                      <a:gd name="connsiteX3" fmla="*/ 0 w 342788"/>
                      <a:gd name="connsiteY3" fmla="*/ 401386 h 409052"/>
                      <a:gd name="connsiteX4" fmla="*/ 30691 w 342788"/>
                      <a:gd name="connsiteY4" fmla="*/ 7529 h 409052"/>
                      <a:gd name="connsiteX0" fmla="*/ 30691 w 346620"/>
                      <a:gd name="connsiteY0" fmla="*/ 11224 h 412747"/>
                      <a:gd name="connsiteX1" fmla="*/ 346620 w 346620"/>
                      <a:gd name="connsiteY1" fmla="*/ 0 h 412747"/>
                      <a:gd name="connsiteX2" fmla="*/ 319352 w 346620"/>
                      <a:gd name="connsiteY2" fmla="*/ 412747 h 412747"/>
                      <a:gd name="connsiteX3" fmla="*/ 0 w 346620"/>
                      <a:gd name="connsiteY3" fmla="*/ 405081 h 412747"/>
                      <a:gd name="connsiteX4" fmla="*/ 30691 w 346620"/>
                      <a:gd name="connsiteY4" fmla="*/ 11224 h 412747"/>
                      <a:gd name="connsiteX0" fmla="*/ 30691 w 320495"/>
                      <a:gd name="connsiteY0" fmla="*/ 190193 h 591716"/>
                      <a:gd name="connsiteX1" fmla="*/ 320495 w 320495"/>
                      <a:gd name="connsiteY1" fmla="*/ 0 h 591716"/>
                      <a:gd name="connsiteX2" fmla="*/ 319352 w 320495"/>
                      <a:gd name="connsiteY2" fmla="*/ 591716 h 591716"/>
                      <a:gd name="connsiteX3" fmla="*/ 0 w 320495"/>
                      <a:gd name="connsiteY3" fmla="*/ 584050 h 591716"/>
                      <a:gd name="connsiteX4" fmla="*/ 30691 w 320495"/>
                      <a:gd name="connsiteY4" fmla="*/ 190193 h 591716"/>
                      <a:gd name="connsiteX0" fmla="*/ 123038 w 412842"/>
                      <a:gd name="connsiteY0" fmla="*/ 190193 h 591716"/>
                      <a:gd name="connsiteX1" fmla="*/ 412842 w 412842"/>
                      <a:gd name="connsiteY1" fmla="*/ 0 h 591716"/>
                      <a:gd name="connsiteX2" fmla="*/ 411699 w 412842"/>
                      <a:gd name="connsiteY2" fmla="*/ 591716 h 591716"/>
                      <a:gd name="connsiteX3" fmla="*/ 0 w 412842"/>
                      <a:gd name="connsiteY3" fmla="*/ 568064 h 591716"/>
                      <a:gd name="connsiteX4" fmla="*/ 123038 w 412842"/>
                      <a:gd name="connsiteY4" fmla="*/ 190193 h 591716"/>
                      <a:gd name="connsiteX0" fmla="*/ 0 w 426785"/>
                      <a:gd name="connsiteY0" fmla="*/ 0 h 655557"/>
                      <a:gd name="connsiteX1" fmla="*/ 426785 w 426785"/>
                      <a:gd name="connsiteY1" fmla="*/ 63841 h 655557"/>
                      <a:gd name="connsiteX2" fmla="*/ 425642 w 426785"/>
                      <a:gd name="connsiteY2" fmla="*/ 655557 h 655557"/>
                      <a:gd name="connsiteX3" fmla="*/ 13943 w 426785"/>
                      <a:gd name="connsiteY3" fmla="*/ 631905 h 655557"/>
                      <a:gd name="connsiteX4" fmla="*/ 0 w 426785"/>
                      <a:gd name="connsiteY4" fmla="*/ 0 h 655557"/>
                      <a:gd name="connsiteX0" fmla="*/ 0 w 427440"/>
                      <a:gd name="connsiteY0" fmla="*/ 13720 h 669277"/>
                      <a:gd name="connsiteX1" fmla="*/ 427440 w 427440"/>
                      <a:gd name="connsiteY1" fmla="*/ 0 h 669277"/>
                      <a:gd name="connsiteX2" fmla="*/ 425642 w 427440"/>
                      <a:gd name="connsiteY2" fmla="*/ 669277 h 669277"/>
                      <a:gd name="connsiteX3" fmla="*/ 13943 w 427440"/>
                      <a:gd name="connsiteY3" fmla="*/ 645625 h 669277"/>
                      <a:gd name="connsiteX4" fmla="*/ 0 w 427440"/>
                      <a:gd name="connsiteY4" fmla="*/ 13720 h 669277"/>
                      <a:gd name="connsiteX0" fmla="*/ 0 w 427440"/>
                      <a:gd name="connsiteY0" fmla="*/ 13720 h 669277"/>
                      <a:gd name="connsiteX1" fmla="*/ 427440 w 427440"/>
                      <a:gd name="connsiteY1" fmla="*/ 0 h 669277"/>
                      <a:gd name="connsiteX2" fmla="*/ 425642 w 427440"/>
                      <a:gd name="connsiteY2" fmla="*/ 669277 h 669277"/>
                      <a:gd name="connsiteX3" fmla="*/ 16790 w 427440"/>
                      <a:gd name="connsiteY3" fmla="*/ 654714 h 669277"/>
                      <a:gd name="connsiteX4" fmla="*/ 0 w 427440"/>
                      <a:gd name="connsiteY4" fmla="*/ 13720 h 669277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27440" h="669277">
                        <a:moveTo>
                          <a:pt x="0" y="13720"/>
                        </a:moveTo>
                        <a:lnTo>
                          <a:pt x="427440" y="0"/>
                        </a:lnTo>
                        <a:cubicBezTo>
                          <a:pt x="426841" y="223092"/>
                          <a:pt x="426241" y="446185"/>
                          <a:pt x="425642" y="669277"/>
                        </a:cubicBezTo>
                        <a:lnTo>
                          <a:pt x="16790" y="654714"/>
                        </a:lnTo>
                        <a:lnTo>
                          <a:pt x="0" y="13720"/>
                        </a:lnTo>
                        <a:close/>
                      </a:path>
                    </a:pathLst>
                  </a:custGeom>
                  <a:solidFill>
                    <a:srgbClr val="9966CC">
                      <a:alpha val="50196"/>
                    </a:srgbClr>
                  </a:solidFill>
                  <a:ln w="9525">
                    <a:solidFill>
                      <a:schemeClr val="accent4"/>
                    </a:solidFill>
                    <a:prstDash val="sysDot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 dirty="0"/>
                  </a:p>
                </p:txBody>
              </p:sp>
              <p:sp>
                <p:nvSpPr>
                  <p:cNvPr id="69" name="Rectangle 29">
                    <a:extLst>
                      <a:ext uri="{FF2B5EF4-FFF2-40B4-BE49-F238E27FC236}">
                        <a16:creationId xmlns:a16="http://schemas.microsoft.com/office/drawing/2014/main" id="{C62DFE1B-CA71-49C1-B58F-24F43874E599}"/>
                      </a:ext>
                    </a:extLst>
                  </p:cNvPr>
                  <p:cNvSpPr/>
                  <p:nvPr/>
                </p:nvSpPr>
                <p:spPr>
                  <a:xfrm>
                    <a:off x="5744544" y="3569603"/>
                    <a:ext cx="1722262" cy="1526273"/>
                  </a:xfrm>
                  <a:custGeom>
                    <a:avLst/>
                    <a:gdLst>
                      <a:gd name="connsiteX0" fmla="*/ 0 w 681228"/>
                      <a:gd name="connsiteY0" fmla="*/ 0 h 1508760"/>
                      <a:gd name="connsiteX1" fmla="*/ 681228 w 681228"/>
                      <a:gd name="connsiteY1" fmla="*/ 0 h 1508760"/>
                      <a:gd name="connsiteX2" fmla="*/ 681228 w 681228"/>
                      <a:gd name="connsiteY2" fmla="*/ 1508760 h 1508760"/>
                      <a:gd name="connsiteX3" fmla="*/ 0 w 681228"/>
                      <a:gd name="connsiteY3" fmla="*/ 1508760 h 1508760"/>
                      <a:gd name="connsiteX4" fmla="*/ 0 w 681228"/>
                      <a:gd name="connsiteY4" fmla="*/ 0 h 1508760"/>
                      <a:gd name="connsiteX0" fmla="*/ 0 w 766639"/>
                      <a:gd name="connsiteY0" fmla="*/ 0 h 1538905"/>
                      <a:gd name="connsiteX1" fmla="*/ 766639 w 766639"/>
                      <a:gd name="connsiteY1" fmla="*/ 30145 h 1538905"/>
                      <a:gd name="connsiteX2" fmla="*/ 766639 w 766639"/>
                      <a:gd name="connsiteY2" fmla="*/ 1538905 h 1538905"/>
                      <a:gd name="connsiteX3" fmla="*/ 85411 w 766639"/>
                      <a:gd name="connsiteY3" fmla="*/ 1538905 h 1538905"/>
                      <a:gd name="connsiteX4" fmla="*/ 0 w 766639"/>
                      <a:gd name="connsiteY4" fmla="*/ 0 h 1538905"/>
                      <a:gd name="connsiteX0" fmla="*/ 0 w 766639"/>
                      <a:gd name="connsiteY0" fmla="*/ 0 h 1538905"/>
                      <a:gd name="connsiteX1" fmla="*/ 344609 w 766639"/>
                      <a:gd name="connsiteY1" fmla="*/ 50242 h 1538905"/>
                      <a:gd name="connsiteX2" fmla="*/ 766639 w 766639"/>
                      <a:gd name="connsiteY2" fmla="*/ 1538905 h 1538905"/>
                      <a:gd name="connsiteX3" fmla="*/ 85411 w 766639"/>
                      <a:gd name="connsiteY3" fmla="*/ 1538905 h 1538905"/>
                      <a:gd name="connsiteX4" fmla="*/ 0 w 766639"/>
                      <a:gd name="connsiteY4" fmla="*/ 0 h 1538905"/>
                      <a:gd name="connsiteX0" fmla="*/ 0 w 766639"/>
                      <a:gd name="connsiteY0" fmla="*/ 0 h 1538905"/>
                      <a:gd name="connsiteX1" fmla="*/ 344609 w 766639"/>
                      <a:gd name="connsiteY1" fmla="*/ 50242 h 1538905"/>
                      <a:gd name="connsiteX2" fmla="*/ 532061 w 766639"/>
                      <a:gd name="connsiteY2" fmla="*/ 676305 h 1538905"/>
                      <a:gd name="connsiteX3" fmla="*/ 766639 w 766639"/>
                      <a:gd name="connsiteY3" fmla="*/ 1538905 h 1538905"/>
                      <a:gd name="connsiteX4" fmla="*/ 85411 w 766639"/>
                      <a:gd name="connsiteY4" fmla="*/ 1538905 h 1538905"/>
                      <a:gd name="connsiteX5" fmla="*/ 0 w 766639"/>
                      <a:gd name="connsiteY5" fmla="*/ 0 h 1538905"/>
                      <a:gd name="connsiteX0" fmla="*/ 0 w 928971"/>
                      <a:gd name="connsiteY0" fmla="*/ 0 h 1538905"/>
                      <a:gd name="connsiteX1" fmla="*/ 344609 w 928971"/>
                      <a:gd name="connsiteY1" fmla="*/ 50242 h 1538905"/>
                      <a:gd name="connsiteX2" fmla="*/ 928971 w 928971"/>
                      <a:gd name="connsiteY2" fmla="*/ 389927 h 1538905"/>
                      <a:gd name="connsiteX3" fmla="*/ 766639 w 928971"/>
                      <a:gd name="connsiteY3" fmla="*/ 1538905 h 1538905"/>
                      <a:gd name="connsiteX4" fmla="*/ 85411 w 928971"/>
                      <a:gd name="connsiteY4" fmla="*/ 1538905 h 1538905"/>
                      <a:gd name="connsiteX5" fmla="*/ 0 w 928971"/>
                      <a:gd name="connsiteY5" fmla="*/ 0 h 1538905"/>
                      <a:gd name="connsiteX0" fmla="*/ 0 w 928971"/>
                      <a:gd name="connsiteY0" fmla="*/ 0 h 1538905"/>
                      <a:gd name="connsiteX1" fmla="*/ 344609 w 928971"/>
                      <a:gd name="connsiteY1" fmla="*/ 50242 h 1538905"/>
                      <a:gd name="connsiteX2" fmla="*/ 928971 w 928971"/>
                      <a:gd name="connsiteY2" fmla="*/ 389927 h 1538905"/>
                      <a:gd name="connsiteX3" fmla="*/ 646059 w 928971"/>
                      <a:gd name="connsiteY3" fmla="*/ 1227406 h 1538905"/>
                      <a:gd name="connsiteX4" fmla="*/ 85411 w 928971"/>
                      <a:gd name="connsiteY4" fmla="*/ 1538905 h 1538905"/>
                      <a:gd name="connsiteX5" fmla="*/ 0 w 928971"/>
                      <a:gd name="connsiteY5" fmla="*/ 0 h 1538905"/>
                      <a:gd name="connsiteX0" fmla="*/ 0 w 928971"/>
                      <a:gd name="connsiteY0" fmla="*/ 0 h 1453495"/>
                      <a:gd name="connsiteX1" fmla="*/ 344609 w 928971"/>
                      <a:gd name="connsiteY1" fmla="*/ 50242 h 1453495"/>
                      <a:gd name="connsiteX2" fmla="*/ 928971 w 928971"/>
                      <a:gd name="connsiteY2" fmla="*/ 389927 h 1453495"/>
                      <a:gd name="connsiteX3" fmla="*/ 646059 w 928971"/>
                      <a:gd name="connsiteY3" fmla="*/ 1227406 h 1453495"/>
                      <a:gd name="connsiteX4" fmla="*/ 70338 w 928971"/>
                      <a:gd name="connsiteY4" fmla="*/ 1453495 h 1453495"/>
                      <a:gd name="connsiteX5" fmla="*/ 0 w 928971"/>
                      <a:gd name="connsiteY5" fmla="*/ 0 h 1453495"/>
                      <a:gd name="connsiteX0" fmla="*/ 0 w 928971"/>
                      <a:gd name="connsiteY0" fmla="*/ 0 h 1453495"/>
                      <a:gd name="connsiteX1" fmla="*/ 344609 w 928971"/>
                      <a:gd name="connsiteY1" fmla="*/ 50242 h 1453495"/>
                      <a:gd name="connsiteX2" fmla="*/ 928971 w 928971"/>
                      <a:gd name="connsiteY2" fmla="*/ 389927 h 1453495"/>
                      <a:gd name="connsiteX3" fmla="*/ 646059 w 928971"/>
                      <a:gd name="connsiteY3" fmla="*/ 1227406 h 1453495"/>
                      <a:gd name="connsiteX4" fmla="*/ 70338 w 928971"/>
                      <a:gd name="connsiteY4" fmla="*/ 1453495 h 1453495"/>
                      <a:gd name="connsiteX5" fmla="*/ 49740 w 928971"/>
                      <a:gd name="connsiteY5" fmla="*/ 1228965 h 1453495"/>
                      <a:gd name="connsiteX6" fmla="*/ 0 w 928971"/>
                      <a:gd name="connsiteY6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382339 w 1311310"/>
                      <a:gd name="connsiteY6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211016 w 1311310"/>
                      <a:gd name="connsiteY6" fmla="*/ 515532 h 1453495"/>
                      <a:gd name="connsiteX7" fmla="*/ 382339 w 1311310"/>
                      <a:gd name="connsiteY7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382339 w 1311310"/>
                      <a:gd name="connsiteY7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396910 w 1311310"/>
                      <a:gd name="connsiteY7" fmla="*/ 264323 h 1453495"/>
                      <a:gd name="connsiteX8" fmla="*/ 382339 w 1311310"/>
                      <a:gd name="connsiteY8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382339 w 1311310"/>
                      <a:gd name="connsiteY8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507442 w 1311310"/>
                      <a:gd name="connsiteY8" fmla="*/ 329637 h 1453495"/>
                      <a:gd name="connsiteX9" fmla="*/ 382339 w 1311310"/>
                      <a:gd name="connsiteY9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708409 w 1311310"/>
                      <a:gd name="connsiteY8" fmla="*/ 394951 h 1453495"/>
                      <a:gd name="connsiteX9" fmla="*/ 382339 w 1311310"/>
                      <a:gd name="connsiteY9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708409 w 1311310"/>
                      <a:gd name="connsiteY8" fmla="*/ 394951 h 1453495"/>
                      <a:gd name="connsiteX9" fmla="*/ 557684 w 1311310"/>
                      <a:gd name="connsiteY9" fmla="*/ 199009 h 1453495"/>
                      <a:gd name="connsiteX10" fmla="*/ 382339 w 1311310"/>
                      <a:gd name="connsiteY10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708409 w 1311310"/>
                      <a:gd name="connsiteY8" fmla="*/ 394951 h 1453495"/>
                      <a:gd name="connsiteX9" fmla="*/ 517491 w 1311310"/>
                      <a:gd name="connsiteY9" fmla="*/ 324614 h 1453495"/>
                      <a:gd name="connsiteX10" fmla="*/ 382339 w 1311310"/>
                      <a:gd name="connsiteY10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708409 w 1311310"/>
                      <a:gd name="connsiteY8" fmla="*/ 394951 h 1453495"/>
                      <a:gd name="connsiteX9" fmla="*/ 517491 w 1311310"/>
                      <a:gd name="connsiteY9" fmla="*/ 324614 h 1453495"/>
                      <a:gd name="connsiteX10" fmla="*/ 457200 w 1311310"/>
                      <a:gd name="connsiteY10" fmla="*/ 153791 h 1453495"/>
                      <a:gd name="connsiteX11" fmla="*/ 382339 w 1311310"/>
                      <a:gd name="connsiteY11" fmla="*/ 0 h 1453495"/>
                      <a:gd name="connsiteX0" fmla="*/ 382339 w 1311310"/>
                      <a:gd name="connsiteY0" fmla="*/ 0 h 1453495"/>
                      <a:gd name="connsiteX1" fmla="*/ 726948 w 1311310"/>
                      <a:gd name="connsiteY1" fmla="*/ 50242 h 1453495"/>
                      <a:gd name="connsiteX2" fmla="*/ 1311310 w 1311310"/>
                      <a:gd name="connsiteY2" fmla="*/ 389927 h 1453495"/>
                      <a:gd name="connsiteX3" fmla="*/ 1028398 w 1311310"/>
                      <a:gd name="connsiteY3" fmla="*/ 1227406 h 1453495"/>
                      <a:gd name="connsiteX4" fmla="*/ 452677 w 1311310"/>
                      <a:gd name="connsiteY4" fmla="*/ 1453495 h 1453495"/>
                      <a:gd name="connsiteX5" fmla="*/ 0 w 1311310"/>
                      <a:gd name="connsiteY5" fmla="*/ 1249062 h 1453495"/>
                      <a:gd name="connsiteX6" fmla="*/ 411983 w 1311310"/>
                      <a:gd name="connsiteY6" fmla="*/ 565774 h 1453495"/>
                      <a:gd name="connsiteX7" fmla="*/ 638071 w 1311310"/>
                      <a:gd name="connsiteY7" fmla="*/ 656209 h 1453495"/>
                      <a:gd name="connsiteX8" fmla="*/ 708409 w 1311310"/>
                      <a:gd name="connsiteY8" fmla="*/ 394951 h 1453495"/>
                      <a:gd name="connsiteX9" fmla="*/ 517491 w 1311310"/>
                      <a:gd name="connsiteY9" fmla="*/ 324614 h 1453495"/>
                      <a:gd name="connsiteX10" fmla="*/ 497394 w 1311310"/>
                      <a:gd name="connsiteY10" fmla="*/ 199008 h 1453495"/>
                      <a:gd name="connsiteX11" fmla="*/ 382339 w 1311310"/>
                      <a:gd name="connsiteY11" fmla="*/ 0 h 1453495"/>
                      <a:gd name="connsiteX0" fmla="*/ 382339 w 1251020"/>
                      <a:gd name="connsiteY0" fmla="*/ 0 h 1453495"/>
                      <a:gd name="connsiteX1" fmla="*/ 726948 w 1251020"/>
                      <a:gd name="connsiteY1" fmla="*/ 50242 h 1453495"/>
                      <a:gd name="connsiteX2" fmla="*/ 1251020 w 1251020"/>
                      <a:gd name="connsiteY2" fmla="*/ 364806 h 1453495"/>
                      <a:gd name="connsiteX3" fmla="*/ 1028398 w 1251020"/>
                      <a:gd name="connsiteY3" fmla="*/ 1227406 h 1453495"/>
                      <a:gd name="connsiteX4" fmla="*/ 452677 w 1251020"/>
                      <a:gd name="connsiteY4" fmla="*/ 1453495 h 1453495"/>
                      <a:gd name="connsiteX5" fmla="*/ 0 w 1251020"/>
                      <a:gd name="connsiteY5" fmla="*/ 1249062 h 1453495"/>
                      <a:gd name="connsiteX6" fmla="*/ 411983 w 1251020"/>
                      <a:gd name="connsiteY6" fmla="*/ 565774 h 1453495"/>
                      <a:gd name="connsiteX7" fmla="*/ 638071 w 1251020"/>
                      <a:gd name="connsiteY7" fmla="*/ 656209 h 1453495"/>
                      <a:gd name="connsiteX8" fmla="*/ 708409 w 1251020"/>
                      <a:gd name="connsiteY8" fmla="*/ 394951 h 1453495"/>
                      <a:gd name="connsiteX9" fmla="*/ 517491 w 1251020"/>
                      <a:gd name="connsiteY9" fmla="*/ 324614 h 1453495"/>
                      <a:gd name="connsiteX10" fmla="*/ 497394 w 1251020"/>
                      <a:gd name="connsiteY10" fmla="*/ 199008 h 1453495"/>
                      <a:gd name="connsiteX11" fmla="*/ 382339 w 1251020"/>
                      <a:gd name="connsiteY11" fmla="*/ 0 h 1453495"/>
                      <a:gd name="connsiteX0" fmla="*/ 382339 w 1251020"/>
                      <a:gd name="connsiteY0" fmla="*/ 0 h 1453495"/>
                      <a:gd name="connsiteX1" fmla="*/ 726948 w 1251020"/>
                      <a:gd name="connsiteY1" fmla="*/ 50242 h 1453495"/>
                      <a:gd name="connsiteX2" fmla="*/ 1251020 w 1251020"/>
                      <a:gd name="connsiteY2" fmla="*/ 364806 h 1453495"/>
                      <a:gd name="connsiteX3" fmla="*/ 1028398 w 1251020"/>
                      <a:gd name="connsiteY3" fmla="*/ 1227406 h 1453495"/>
                      <a:gd name="connsiteX4" fmla="*/ 452677 w 1251020"/>
                      <a:gd name="connsiteY4" fmla="*/ 1453495 h 1453495"/>
                      <a:gd name="connsiteX5" fmla="*/ 0 w 1251020"/>
                      <a:gd name="connsiteY5" fmla="*/ 1249062 h 1453495"/>
                      <a:gd name="connsiteX6" fmla="*/ 291402 w 1251020"/>
                      <a:gd name="connsiteY6" fmla="*/ 761716 h 1453495"/>
                      <a:gd name="connsiteX7" fmla="*/ 411983 w 1251020"/>
                      <a:gd name="connsiteY7" fmla="*/ 565774 h 1453495"/>
                      <a:gd name="connsiteX8" fmla="*/ 638071 w 1251020"/>
                      <a:gd name="connsiteY8" fmla="*/ 656209 h 1453495"/>
                      <a:gd name="connsiteX9" fmla="*/ 708409 w 1251020"/>
                      <a:gd name="connsiteY9" fmla="*/ 394951 h 1453495"/>
                      <a:gd name="connsiteX10" fmla="*/ 517491 w 1251020"/>
                      <a:gd name="connsiteY10" fmla="*/ 324614 h 1453495"/>
                      <a:gd name="connsiteX11" fmla="*/ 497394 w 1251020"/>
                      <a:gd name="connsiteY11" fmla="*/ 199008 h 1453495"/>
                      <a:gd name="connsiteX12" fmla="*/ 382339 w 1251020"/>
                      <a:gd name="connsiteY12" fmla="*/ 0 h 1453495"/>
                      <a:gd name="connsiteX0" fmla="*/ 382339 w 1251020"/>
                      <a:gd name="connsiteY0" fmla="*/ 0 h 1453495"/>
                      <a:gd name="connsiteX1" fmla="*/ 726948 w 1251020"/>
                      <a:gd name="connsiteY1" fmla="*/ 50242 h 1453495"/>
                      <a:gd name="connsiteX2" fmla="*/ 1251020 w 1251020"/>
                      <a:gd name="connsiteY2" fmla="*/ 364806 h 1453495"/>
                      <a:gd name="connsiteX3" fmla="*/ 1028398 w 1251020"/>
                      <a:gd name="connsiteY3" fmla="*/ 1227406 h 1453495"/>
                      <a:gd name="connsiteX4" fmla="*/ 452677 w 1251020"/>
                      <a:gd name="connsiteY4" fmla="*/ 1453495 h 1453495"/>
                      <a:gd name="connsiteX5" fmla="*/ 0 w 1251020"/>
                      <a:gd name="connsiteY5" fmla="*/ 1249062 h 1453495"/>
                      <a:gd name="connsiteX6" fmla="*/ 155750 w 1251020"/>
                      <a:gd name="connsiteY6" fmla="*/ 852151 h 1453495"/>
                      <a:gd name="connsiteX7" fmla="*/ 411983 w 1251020"/>
                      <a:gd name="connsiteY7" fmla="*/ 565774 h 1453495"/>
                      <a:gd name="connsiteX8" fmla="*/ 638071 w 1251020"/>
                      <a:gd name="connsiteY8" fmla="*/ 656209 h 1453495"/>
                      <a:gd name="connsiteX9" fmla="*/ 708409 w 1251020"/>
                      <a:gd name="connsiteY9" fmla="*/ 394951 h 1453495"/>
                      <a:gd name="connsiteX10" fmla="*/ 517491 w 1251020"/>
                      <a:gd name="connsiteY10" fmla="*/ 324614 h 1453495"/>
                      <a:gd name="connsiteX11" fmla="*/ 497394 w 1251020"/>
                      <a:gd name="connsiteY11" fmla="*/ 199008 h 1453495"/>
                      <a:gd name="connsiteX12" fmla="*/ 382339 w 1251020"/>
                      <a:gd name="connsiteY12" fmla="*/ 0 h 1453495"/>
                      <a:gd name="connsiteX0" fmla="*/ 377315 w 1245996"/>
                      <a:gd name="connsiteY0" fmla="*/ 0 h 1453495"/>
                      <a:gd name="connsiteX1" fmla="*/ 721924 w 1245996"/>
                      <a:gd name="connsiteY1" fmla="*/ 50242 h 1453495"/>
                      <a:gd name="connsiteX2" fmla="*/ 1245996 w 1245996"/>
                      <a:gd name="connsiteY2" fmla="*/ 364806 h 1453495"/>
                      <a:gd name="connsiteX3" fmla="*/ 1023374 w 1245996"/>
                      <a:gd name="connsiteY3" fmla="*/ 1227406 h 1453495"/>
                      <a:gd name="connsiteX4" fmla="*/ 447653 w 1245996"/>
                      <a:gd name="connsiteY4" fmla="*/ 1453495 h 1453495"/>
                      <a:gd name="connsiteX5" fmla="*/ 0 w 1245996"/>
                      <a:gd name="connsiteY5" fmla="*/ 1279207 h 1453495"/>
                      <a:gd name="connsiteX6" fmla="*/ 150726 w 1245996"/>
                      <a:gd name="connsiteY6" fmla="*/ 852151 h 1453495"/>
                      <a:gd name="connsiteX7" fmla="*/ 406959 w 1245996"/>
                      <a:gd name="connsiteY7" fmla="*/ 565774 h 1453495"/>
                      <a:gd name="connsiteX8" fmla="*/ 633047 w 1245996"/>
                      <a:gd name="connsiteY8" fmla="*/ 656209 h 1453495"/>
                      <a:gd name="connsiteX9" fmla="*/ 703385 w 1245996"/>
                      <a:gd name="connsiteY9" fmla="*/ 394951 h 1453495"/>
                      <a:gd name="connsiteX10" fmla="*/ 512467 w 1245996"/>
                      <a:gd name="connsiteY10" fmla="*/ 324614 h 1453495"/>
                      <a:gd name="connsiteX11" fmla="*/ 492370 w 1245996"/>
                      <a:gd name="connsiteY11" fmla="*/ 199008 h 1453495"/>
                      <a:gd name="connsiteX12" fmla="*/ 377315 w 1245996"/>
                      <a:gd name="connsiteY12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048495 w 1271117"/>
                      <a:gd name="connsiteY3" fmla="*/ 1227406 h 1453495"/>
                      <a:gd name="connsiteX4" fmla="*/ 472774 w 1271117"/>
                      <a:gd name="connsiteY4" fmla="*/ 1453495 h 1453495"/>
                      <a:gd name="connsiteX5" fmla="*/ 0 w 1271117"/>
                      <a:gd name="connsiteY5" fmla="*/ 1264134 h 1453495"/>
                      <a:gd name="connsiteX6" fmla="*/ 175847 w 1271117"/>
                      <a:gd name="connsiteY6" fmla="*/ 852151 h 1453495"/>
                      <a:gd name="connsiteX7" fmla="*/ 432080 w 1271117"/>
                      <a:gd name="connsiteY7" fmla="*/ 565774 h 1453495"/>
                      <a:gd name="connsiteX8" fmla="*/ 658168 w 1271117"/>
                      <a:gd name="connsiteY8" fmla="*/ 656209 h 1453495"/>
                      <a:gd name="connsiteX9" fmla="*/ 728506 w 1271117"/>
                      <a:gd name="connsiteY9" fmla="*/ 394951 h 1453495"/>
                      <a:gd name="connsiteX10" fmla="*/ 537588 w 1271117"/>
                      <a:gd name="connsiteY10" fmla="*/ 324614 h 1453495"/>
                      <a:gd name="connsiteX11" fmla="*/ 517491 w 1271117"/>
                      <a:gd name="connsiteY11" fmla="*/ 199008 h 1453495"/>
                      <a:gd name="connsiteX12" fmla="*/ 402436 w 1271117"/>
                      <a:gd name="connsiteY12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40489 w 1271117"/>
                      <a:gd name="connsiteY3" fmla="*/ 832055 h 1453495"/>
                      <a:gd name="connsiteX4" fmla="*/ 1048495 w 1271117"/>
                      <a:gd name="connsiteY4" fmla="*/ 1227406 h 1453495"/>
                      <a:gd name="connsiteX5" fmla="*/ 472774 w 1271117"/>
                      <a:gd name="connsiteY5" fmla="*/ 1453495 h 1453495"/>
                      <a:gd name="connsiteX6" fmla="*/ 0 w 1271117"/>
                      <a:gd name="connsiteY6" fmla="*/ 1264134 h 1453495"/>
                      <a:gd name="connsiteX7" fmla="*/ 175847 w 1271117"/>
                      <a:gd name="connsiteY7" fmla="*/ 852151 h 1453495"/>
                      <a:gd name="connsiteX8" fmla="*/ 432080 w 1271117"/>
                      <a:gd name="connsiteY8" fmla="*/ 565774 h 1453495"/>
                      <a:gd name="connsiteX9" fmla="*/ 658168 w 1271117"/>
                      <a:gd name="connsiteY9" fmla="*/ 656209 h 1453495"/>
                      <a:gd name="connsiteX10" fmla="*/ 728506 w 1271117"/>
                      <a:gd name="connsiteY10" fmla="*/ 394951 h 1453495"/>
                      <a:gd name="connsiteX11" fmla="*/ 537588 w 1271117"/>
                      <a:gd name="connsiteY11" fmla="*/ 324614 h 1453495"/>
                      <a:gd name="connsiteX12" fmla="*/ 517491 w 1271117"/>
                      <a:gd name="connsiteY12" fmla="*/ 199008 h 1453495"/>
                      <a:gd name="connsiteX13" fmla="*/ 402436 w 1271117"/>
                      <a:gd name="connsiteY13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048495 w 1271117"/>
                      <a:gd name="connsiteY4" fmla="*/ 1227406 h 1453495"/>
                      <a:gd name="connsiteX5" fmla="*/ 472774 w 1271117"/>
                      <a:gd name="connsiteY5" fmla="*/ 1453495 h 1453495"/>
                      <a:gd name="connsiteX6" fmla="*/ 0 w 1271117"/>
                      <a:gd name="connsiteY6" fmla="*/ 1264134 h 1453495"/>
                      <a:gd name="connsiteX7" fmla="*/ 175847 w 1271117"/>
                      <a:gd name="connsiteY7" fmla="*/ 852151 h 1453495"/>
                      <a:gd name="connsiteX8" fmla="*/ 432080 w 1271117"/>
                      <a:gd name="connsiteY8" fmla="*/ 565774 h 1453495"/>
                      <a:gd name="connsiteX9" fmla="*/ 658168 w 1271117"/>
                      <a:gd name="connsiteY9" fmla="*/ 656209 h 1453495"/>
                      <a:gd name="connsiteX10" fmla="*/ 728506 w 1271117"/>
                      <a:gd name="connsiteY10" fmla="*/ 394951 h 1453495"/>
                      <a:gd name="connsiteX11" fmla="*/ 537588 w 1271117"/>
                      <a:gd name="connsiteY11" fmla="*/ 324614 h 1453495"/>
                      <a:gd name="connsiteX12" fmla="*/ 517491 w 1271117"/>
                      <a:gd name="connsiteY12" fmla="*/ 199008 h 1453495"/>
                      <a:gd name="connsiteX13" fmla="*/ 402436 w 1271117"/>
                      <a:gd name="connsiteY13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169075 w 1271117"/>
                      <a:gd name="connsiteY4" fmla="*/ 790302 h 1453495"/>
                      <a:gd name="connsiteX5" fmla="*/ 472774 w 1271117"/>
                      <a:gd name="connsiteY5" fmla="*/ 1453495 h 1453495"/>
                      <a:gd name="connsiteX6" fmla="*/ 0 w 1271117"/>
                      <a:gd name="connsiteY6" fmla="*/ 1264134 h 1453495"/>
                      <a:gd name="connsiteX7" fmla="*/ 175847 w 1271117"/>
                      <a:gd name="connsiteY7" fmla="*/ 852151 h 1453495"/>
                      <a:gd name="connsiteX8" fmla="*/ 432080 w 1271117"/>
                      <a:gd name="connsiteY8" fmla="*/ 565774 h 1453495"/>
                      <a:gd name="connsiteX9" fmla="*/ 658168 w 1271117"/>
                      <a:gd name="connsiteY9" fmla="*/ 656209 h 1453495"/>
                      <a:gd name="connsiteX10" fmla="*/ 728506 w 1271117"/>
                      <a:gd name="connsiteY10" fmla="*/ 394951 h 1453495"/>
                      <a:gd name="connsiteX11" fmla="*/ 537588 w 1271117"/>
                      <a:gd name="connsiteY11" fmla="*/ 324614 h 1453495"/>
                      <a:gd name="connsiteX12" fmla="*/ 517491 w 1271117"/>
                      <a:gd name="connsiteY12" fmla="*/ 199008 h 1453495"/>
                      <a:gd name="connsiteX13" fmla="*/ 402436 w 1271117"/>
                      <a:gd name="connsiteY13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169075 w 1271117"/>
                      <a:gd name="connsiteY4" fmla="*/ 790302 h 1453495"/>
                      <a:gd name="connsiteX5" fmla="*/ 1045030 w 1271117"/>
                      <a:gd name="connsiteY5" fmla="*/ 902393 h 1453495"/>
                      <a:gd name="connsiteX6" fmla="*/ 472774 w 1271117"/>
                      <a:gd name="connsiteY6" fmla="*/ 1453495 h 1453495"/>
                      <a:gd name="connsiteX7" fmla="*/ 0 w 1271117"/>
                      <a:gd name="connsiteY7" fmla="*/ 1264134 h 1453495"/>
                      <a:gd name="connsiteX8" fmla="*/ 175847 w 1271117"/>
                      <a:gd name="connsiteY8" fmla="*/ 852151 h 1453495"/>
                      <a:gd name="connsiteX9" fmla="*/ 432080 w 1271117"/>
                      <a:gd name="connsiteY9" fmla="*/ 565774 h 1453495"/>
                      <a:gd name="connsiteX10" fmla="*/ 658168 w 1271117"/>
                      <a:gd name="connsiteY10" fmla="*/ 656209 h 1453495"/>
                      <a:gd name="connsiteX11" fmla="*/ 728506 w 1271117"/>
                      <a:gd name="connsiteY11" fmla="*/ 394951 h 1453495"/>
                      <a:gd name="connsiteX12" fmla="*/ 537588 w 1271117"/>
                      <a:gd name="connsiteY12" fmla="*/ 324614 h 1453495"/>
                      <a:gd name="connsiteX13" fmla="*/ 517491 w 1271117"/>
                      <a:gd name="connsiteY13" fmla="*/ 199008 h 1453495"/>
                      <a:gd name="connsiteX14" fmla="*/ 402436 w 1271117"/>
                      <a:gd name="connsiteY14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169075 w 1271117"/>
                      <a:gd name="connsiteY4" fmla="*/ 790302 h 1453495"/>
                      <a:gd name="connsiteX5" fmla="*/ 1145514 w 1271117"/>
                      <a:gd name="connsiteY5" fmla="*/ 1183747 h 1453495"/>
                      <a:gd name="connsiteX6" fmla="*/ 472774 w 1271117"/>
                      <a:gd name="connsiteY6" fmla="*/ 1453495 h 1453495"/>
                      <a:gd name="connsiteX7" fmla="*/ 0 w 1271117"/>
                      <a:gd name="connsiteY7" fmla="*/ 1264134 h 1453495"/>
                      <a:gd name="connsiteX8" fmla="*/ 175847 w 1271117"/>
                      <a:gd name="connsiteY8" fmla="*/ 852151 h 1453495"/>
                      <a:gd name="connsiteX9" fmla="*/ 432080 w 1271117"/>
                      <a:gd name="connsiteY9" fmla="*/ 565774 h 1453495"/>
                      <a:gd name="connsiteX10" fmla="*/ 658168 w 1271117"/>
                      <a:gd name="connsiteY10" fmla="*/ 656209 h 1453495"/>
                      <a:gd name="connsiteX11" fmla="*/ 728506 w 1271117"/>
                      <a:gd name="connsiteY11" fmla="*/ 394951 h 1453495"/>
                      <a:gd name="connsiteX12" fmla="*/ 537588 w 1271117"/>
                      <a:gd name="connsiteY12" fmla="*/ 324614 h 1453495"/>
                      <a:gd name="connsiteX13" fmla="*/ 517491 w 1271117"/>
                      <a:gd name="connsiteY13" fmla="*/ 199008 h 1453495"/>
                      <a:gd name="connsiteX14" fmla="*/ 402436 w 1271117"/>
                      <a:gd name="connsiteY14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169075 w 1271117"/>
                      <a:gd name="connsiteY4" fmla="*/ 790302 h 1453495"/>
                      <a:gd name="connsiteX5" fmla="*/ 1145514 w 1271117"/>
                      <a:gd name="connsiteY5" fmla="*/ 1183747 h 1453495"/>
                      <a:gd name="connsiteX6" fmla="*/ 994788 w 1271117"/>
                      <a:gd name="connsiteY6" fmla="*/ 1244037 h 1453495"/>
                      <a:gd name="connsiteX7" fmla="*/ 472774 w 1271117"/>
                      <a:gd name="connsiteY7" fmla="*/ 1453495 h 1453495"/>
                      <a:gd name="connsiteX8" fmla="*/ 0 w 1271117"/>
                      <a:gd name="connsiteY8" fmla="*/ 1264134 h 1453495"/>
                      <a:gd name="connsiteX9" fmla="*/ 175847 w 1271117"/>
                      <a:gd name="connsiteY9" fmla="*/ 852151 h 1453495"/>
                      <a:gd name="connsiteX10" fmla="*/ 432080 w 1271117"/>
                      <a:gd name="connsiteY10" fmla="*/ 565774 h 1453495"/>
                      <a:gd name="connsiteX11" fmla="*/ 658168 w 1271117"/>
                      <a:gd name="connsiteY11" fmla="*/ 656209 h 1453495"/>
                      <a:gd name="connsiteX12" fmla="*/ 728506 w 1271117"/>
                      <a:gd name="connsiteY12" fmla="*/ 394951 h 1453495"/>
                      <a:gd name="connsiteX13" fmla="*/ 537588 w 1271117"/>
                      <a:gd name="connsiteY13" fmla="*/ 324614 h 1453495"/>
                      <a:gd name="connsiteX14" fmla="*/ 517491 w 1271117"/>
                      <a:gd name="connsiteY14" fmla="*/ 199008 h 1453495"/>
                      <a:gd name="connsiteX15" fmla="*/ 402436 w 1271117"/>
                      <a:gd name="connsiteY15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30441 w 1271117"/>
                      <a:gd name="connsiteY3" fmla="*/ 641136 h 1453495"/>
                      <a:gd name="connsiteX4" fmla="*/ 1169075 w 1271117"/>
                      <a:gd name="connsiteY4" fmla="*/ 790302 h 1453495"/>
                      <a:gd name="connsiteX5" fmla="*/ 1145514 w 1271117"/>
                      <a:gd name="connsiteY5" fmla="*/ 1183747 h 1453495"/>
                      <a:gd name="connsiteX6" fmla="*/ 899329 w 1271117"/>
                      <a:gd name="connsiteY6" fmla="*/ 1334473 h 1453495"/>
                      <a:gd name="connsiteX7" fmla="*/ 472774 w 1271117"/>
                      <a:gd name="connsiteY7" fmla="*/ 1453495 h 1453495"/>
                      <a:gd name="connsiteX8" fmla="*/ 0 w 1271117"/>
                      <a:gd name="connsiteY8" fmla="*/ 1264134 h 1453495"/>
                      <a:gd name="connsiteX9" fmla="*/ 175847 w 1271117"/>
                      <a:gd name="connsiteY9" fmla="*/ 852151 h 1453495"/>
                      <a:gd name="connsiteX10" fmla="*/ 432080 w 1271117"/>
                      <a:gd name="connsiteY10" fmla="*/ 565774 h 1453495"/>
                      <a:gd name="connsiteX11" fmla="*/ 658168 w 1271117"/>
                      <a:gd name="connsiteY11" fmla="*/ 656209 h 1453495"/>
                      <a:gd name="connsiteX12" fmla="*/ 728506 w 1271117"/>
                      <a:gd name="connsiteY12" fmla="*/ 394951 h 1453495"/>
                      <a:gd name="connsiteX13" fmla="*/ 537588 w 1271117"/>
                      <a:gd name="connsiteY13" fmla="*/ 324614 h 1453495"/>
                      <a:gd name="connsiteX14" fmla="*/ 517491 w 1271117"/>
                      <a:gd name="connsiteY14" fmla="*/ 199008 h 1453495"/>
                      <a:gd name="connsiteX15" fmla="*/ 402436 w 1271117"/>
                      <a:gd name="connsiteY15" fmla="*/ 0 h 1453495"/>
                      <a:gd name="connsiteX0" fmla="*/ 402436 w 1271117"/>
                      <a:gd name="connsiteY0" fmla="*/ 0 h 1453495"/>
                      <a:gd name="connsiteX1" fmla="*/ 747045 w 1271117"/>
                      <a:gd name="connsiteY1" fmla="*/ 50242 h 1453495"/>
                      <a:gd name="connsiteX2" fmla="*/ 1271117 w 1271117"/>
                      <a:gd name="connsiteY2" fmla="*/ 364806 h 1453495"/>
                      <a:gd name="connsiteX3" fmla="*/ 1168541 w 1271117"/>
                      <a:gd name="connsiteY3" fmla="*/ 686380 h 1453495"/>
                      <a:gd name="connsiteX4" fmla="*/ 1169075 w 1271117"/>
                      <a:gd name="connsiteY4" fmla="*/ 790302 h 1453495"/>
                      <a:gd name="connsiteX5" fmla="*/ 1145514 w 1271117"/>
                      <a:gd name="connsiteY5" fmla="*/ 1183747 h 1453495"/>
                      <a:gd name="connsiteX6" fmla="*/ 899329 w 1271117"/>
                      <a:gd name="connsiteY6" fmla="*/ 1334473 h 1453495"/>
                      <a:gd name="connsiteX7" fmla="*/ 472774 w 1271117"/>
                      <a:gd name="connsiteY7" fmla="*/ 1453495 h 1453495"/>
                      <a:gd name="connsiteX8" fmla="*/ 0 w 1271117"/>
                      <a:gd name="connsiteY8" fmla="*/ 1264134 h 1453495"/>
                      <a:gd name="connsiteX9" fmla="*/ 175847 w 1271117"/>
                      <a:gd name="connsiteY9" fmla="*/ 852151 h 1453495"/>
                      <a:gd name="connsiteX10" fmla="*/ 432080 w 1271117"/>
                      <a:gd name="connsiteY10" fmla="*/ 565774 h 1453495"/>
                      <a:gd name="connsiteX11" fmla="*/ 658168 w 1271117"/>
                      <a:gd name="connsiteY11" fmla="*/ 656209 h 1453495"/>
                      <a:gd name="connsiteX12" fmla="*/ 728506 w 1271117"/>
                      <a:gd name="connsiteY12" fmla="*/ 394951 h 1453495"/>
                      <a:gd name="connsiteX13" fmla="*/ 537588 w 1271117"/>
                      <a:gd name="connsiteY13" fmla="*/ 324614 h 1453495"/>
                      <a:gd name="connsiteX14" fmla="*/ 517491 w 1271117"/>
                      <a:gd name="connsiteY14" fmla="*/ 199008 h 1453495"/>
                      <a:gd name="connsiteX15" fmla="*/ 402436 w 1271117"/>
                      <a:gd name="connsiteY15" fmla="*/ 0 h 1453495"/>
                      <a:gd name="connsiteX0" fmla="*/ 402436 w 1256830"/>
                      <a:gd name="connsiteY0" fmla="*/ 0 h 1453495"/>
                      <a:gd name="connsiteX1" fmla="*/ 747045 w 1256830"/>
                      <a:gd name="connsiteY1" fmla="*/ 50242 h 1453495"/>
                      <a:gd name="connsiteX2" fmla="*/ 1256830 w 1256830"/>
                      <a:gd name="connsiteY2" fmla="*/ 357663 h 1453495"/>
                      <a:gd name="connsiteX3" fmla="*/ 1168541 w 1256830"/>
                      <a:gd name="connsiteY3" fmla="*/ 686380 h 1453495"/>
                      <a:gd name="connsiteX4" fmla="*/ 1169075 w 1256830"/>
                      <a:gd name="connsiteY4" fmla="*/ 790302 h 1453495"/>
                      <a:gd name="connsiteX5" fmla="*/ 1145514 w 1256830"/>
                      <a:gd name="connsiteY5" fmla="*/ 1183747 h 1453495"/>
                      <a:gd name="connsiteX6" fmla="*/ 899329 w 1256830"/>
                      <a:gd name="connsiteY6" fmla="*/ 1334473 h 1453495"/>
                      <a:gd name="connsiteX7" fmla="*/ 472774 w 1256830"/>
                      <a:gd name="connsiteY7" fmla="*/ 1453495 h 1453495"/>
                      <a:gd name="connsiteX8" fmla="*/ 0 w 1256830"/>
                      <a:gd name="connsiteY8" fmla="*/ 1264134 h 1453495"/>
                      <a:gd name="connsiteX9" fmla="*/ 175847 w 1256830"/>
                      <a:gd name="connsiteY9" fmla="*/ 852151 h 1453495"/>
                      <a:gd name="connsiteX10" fmla="*/ 432080 w 1256830"/>
                      <a:gd name="connsiteY10" fmla="*/ 565774 h 1453495"/>
                      <a:gd name="connsiteX11" fmla="*/ 658168 w 1256830"/>
                      <a:gd name="connsiteY11" fmla="*/ 656209 h 1453495"/>
                      <a:gd name="connsiteX12" fmla="*/ 728506 w 1256830"/>
                      <a:gd name="connsiteY12" fmla="*/ 394951 h 1453495"/>
                      <a:gd name="connsiteX13" fmla="*/ 537588 w 1256830"/>
                      <a:gd name="connsiteY13" fmla="*/ 324614 h 1453495"/>
                      <a:gd name="connsiteX14" fmla="*/ 517491 w 1256830"/>
                      <a:gd name="connsiteY14" fmla="*/ 199008 h 1453495"/>
                      <a:gd name="connsiteX15" fmla="*/ 402436 w 1256830"/>
                      <a:gd name="connsiteY15" fmla="*/ 0 h 1453495"/>
                      <a:gd name="connsiteX0" fmla="*/ 402436 w 1256830"/>
                      <a:gd name="connsiteY0" fmla="*/ 0 h 1929786"/>
                      <a:gd name="connsiteX1" fmla="*/ 747045 w 1256830"/>
                      <a:gd name="connsiteY1" fmla="*/ 50242 h 1929786"/>
                      <a:gd name="connsiteX2" fmla="*/ 1256830 w 1256830"/>
                      <a:gd name="connsiteY2" fmla="*/ 357663 h 1929786"/>
                      <a:gd name="connsiteX3" fmla="*/ 1168541 w 1256830"/>
                      <a:gd name="connsiteY3" fmla="*/ 686380 h 1929786"/>
                      <a:gd name="connsiteX4" fmla="*/ 1169075 w 1256830"/>
                      <a:gd name="connsiteY4" fmla="*/ 790302 h 1929786"/>
                      <a:gd name="connsiteX5" fmla="*/ 1145514 w 1256830"/>
                      <a:gd name="connsiteY5" fmla="*/ 1183747 h 1929786"/>
                      <a:gd name="connsiteX6" fmla="*/ 489754 w 1256830"/>
                      <a:gd name="connsiteY6" fmla="*/ 1929786 h 1929786"/>
                      <a:gd name="connsiteX7" fmla="*/ 472774 w 1256830"/>
                      <a:gd name="connsiteY7" fmla="*/ 1453495 h 1929786"/>
                      <a:gd name="connsiteX8" fmla="*/ 0 w 1256830"/>
                      <a:gd name="connsiteY8" fmla="*/ 1264134 h 1929786"/>
                      <a:gd name="connsiteX9" fmla="*/ 175847 w 1256830"/>
                      <a:gd name="connsiteY9" fmla="*/ 852151 h 1929786"/>
                      <a:gd name="connsiteX10" fmla="*/ 432080 w 1256830"/>
                      <a:gd name="connsiteY10" fmla="*/ 565774 h 1929786"/>
                      <a:gd name="connsiteX11" fmla="*/ 658168 w 1256830"/>
                      <a:gd name="connsiteY11" fmla="*/ 656209 h 1929786"/>
                      <a:gd name="connsiteX12" fmla="*/ 728506 w 1256830"/>
                      <a:gd name="connsiteY12" fmla="*/ 394951 h 1929786"/>
                      <a:gd name="connsiteX13" fmla="*/ 537588 w 1256830"/>
                      <a:gd name="connsiteY13" fmla="*/ 324614 h 1929786"/>
                      <a:gd name="connsiteX14" fmla="*/ 517491 w 1256830"/>
                      <a:gd name="connsiteY14" fmla="*/ 199008 h 1929786"/>
                      <a:gd name="connsiteX15" fmla="*/ 402436 w 1256830"/>
                      <a:gd name="connsiteY15" fmla="*/ 0 h 1929786"/>
                      <a:gd name="connsiteX0" fmla="*/ 402436 w 1256830"/>
                      <a:gd name="connsiteY0" fmla="*/ 0 h 1929786"/>
                      <a:gd name="connsiteX1" fmla="*/ 747045 w 1256830"/>
                      <a:gd name="connsiteY1" fmla="*/ 50242 h 1929786"/>
                      <a:gd name="connsiteX2" fmla="*/ 1256830 w 1256830"/>
                      <a:gd name="connsiteY2" fmla="*/ 357663 h 1929786"/>
                      <a:gd name="connsiteX3" fmla="*/ 1168541 w 1256830"/>
                      <a:gd name="connsiteY3" fmla="*/ 686380 h 1929786"/>
                      <a:gd name="connsiteX4" fmla="*/ 1169075 w 1256830"/>
                      <a:gd name="connsiteY4" fmla="*/ 790302 h 1929786"/>
                      <a:gd name="connsiteX5" fmla="*/ 489754 w 1256830"/>
                      <a:gd name="connsiteY5" fmla="*/ 1929786 h 1929786"/>
                      <a:gd name="connsiteX6" fmla="*/ 472774 w 1256830"/>
                      <a:gd name="connsiteY6" fmla="*/ 1453495 h 1929786"/>
                      <a:gd name="connsiteX7" fmla="*/ 0 w 1256830"/>
                      <a:gd name="connsiteY7" fmla="*/ 1264134 h 1929786"/>
                      <a:gd name="connsiteX8" fmla="*/ 175847 w 1256830"/>
                      <a:gd name="connsiteY8" fmla="*/ 852151 h 1929786"/>
                      <a:gd name="connsiteX9" fmla="*/ 432080 w 1256830"/>
                      <a:gd name="connsiteY9" fmla="*/ 565774 h 1929786"/>
                      <a:gd name="connsiteX10" fmla="*/ 658168 w 1256830"/>
                      <a:gd name="connsiteY10" fmla="*/ 656209 h 1929786"/>
                      <a:gd name="connsiteX11" fmla="*/ 728506 w 1256830"/>
                      <a:gd name="connsiteY11" fmla="*/ 394951 h 1929786"/>
                      <a:gd name="connsiteX12" fmla="*/ 537588 w 1256830"/>
                      <a:gd name="connsiteY12" fmla="*/ 324614 h 1929786"/>
                      <a:gd name="connsiteX13" fmla="*/ 517491 w 1256830"/>
                      <a:gd name="connsiteY13" fmla="*/ 199008 h 1929786"/>
                      <a:gd name="connsiteX14" fmla="*/ 402436 w 1256830"/>
                      <a:gd name="connsiteY14" fmla="*/ 0 h 1929786"/>
                      <a:gd name="connsiteX0" fmla="*/ 402436 w 1256830"/>
                      <a:gd name="connsiteY0" fmla="*/ 0 h 1929786"/>
                      <a:gd name="connsiteX1" fmla="*/ 747045 w 1256830"/>
                      <a:gd name="connsiteY1" fmla="*/ 50242 h 1929786"/>
                      <a:gd name="connsiteX2" fmla="*/ 1256830 w 1256830"/>
                      <a:gd name="connsiteY2" fmla="*/ 357663 h 1929786"/>
                      <a:gd name="connsiteX3" fmla="*/ 1168541 w 1256830"/>
                      <a:gd name="connsiteY3" fmla="*/ 686380 h 1929786"/>
                      <a:gd name="connsiteX4" fmla="*/ 973813 w 1256830"/>
                      <a:gd name="connsiteY4" fmla="*/ 1185590 h 1929786"/>
                      <a:gd name="connsiteX5" fmla="*/ 489754 w 1256830"/>
                      <a:gd name="connsiteY5" fmla="*/ 1929786 h 1929786"/>
                      <a:gd name="connsiteX6" fmla="*/ 472774 w 1256830"/>
                      <a:gd name="connsiteY6" fmla="*/ 1453495 h 1929786"/>
                      <a:gd name="connsiteX7" fmla="*/ 0 w 1256830"/>
                      <a:gd name="connsiteY7" fmla="*/ 1264134 h 1929786"/>
                      <a:gd name="connsiteX8" fmla="*/ 175847 w 1256830"/>
                      <a:gd name="connsiteY8" fmla="*/ 852151 h 1929786"/>
                      <a:gd name="connsiteX9" fmla="*/ 432080 w 1256830"/>
                      <a:gd name="connsiteY9" fmla="*/ 565774 h 1929786"/>
                      <a:gd name="connsiteX10" fmla="*/ 658168 w 1256830"/>
                      <a:gd name="connsiteY10" fmla="*/ 656209 h 1929786"/>
                      <a:gd name="connsiteX11" fmla="*/ 728506 w 1256830"/>
                      <a:gd name="connsiteY11" fmla="*/ 394951 h 1929786"/>
                      <a:gd name="connsiteX12" fmla="*/ 537588 w 1256830"/>
                      <a:gd name="connsiteY12" fmla="*/ 324614 h 1929786"/>
                      <a:gd name="connsiteX13" fmla="*/ 517491 w 1256830"/>
                      <a:gd name="connsiteY13" fmla="*/ 199008 h 1929786"/>
                      <a:gd name="connsiteX14" fmla="*/ 402436 w 1256830"/>
                      <a:gd name="connsiteY14" fmla="*/ 0 h 1929786"/>
                      <a:gd name="connsiteX0" fmla="*/ 402436 w 1256830"/>
                      <a:gd name="connsiteY0" fmla="*/ 0 h 1967886"/>
                      <a:gd name="connsiteX1" fmla="*/ 747045 w 1256830"/>
                      <a:gd name="connsiteY1" fmla="*/ 50242 h 1967886"/>
                      <a:gd name="connsiteX2" fmla="*/ 1256830 w 1256830"/>
                      <a:gd name="connsiteY2" fmla="*/ 357663 h 1967886"/>
                      <a:gd name="connsiteX3" fmla="*/ 1168541 w 1256830"/>
                      <a:gd name="connsiteY3" fmla="*/ 686380 h 1967886"/>
                      <a:gd name="connsiteX4" fmla="*/ 973813 w 1256830"/>
                      <a:gd name="connsiteY4" fmla="*/ 1185590 h 1967886"/>
                      <a:gd name="connsiteX5" fmla="*/ 377835 w 1256830"/>
                      <a:gd name="connsiteY5" fmla="*/ 1967886 h 1967886"/>
                      <a:gd name="connsiteX6" fmla="*/ 472774 w 1256830"/>
                      <a:gd name="connsiteY6" fmla="*/ 1453495 h 1967886"/>
                      <a:gd name="connsiteX7" fmla="*/ 0 w 1256830"/>
                      <a:gd name="connsiteY7" fmla="*/ 1264134 h 1967886"/>
                      <a:gd name="connsiteX8" fmla="*/ 175847 w 1256830"/>
                      <a:gd name="connsiteY8" fmla="*/ 852151 h 1967886"/>
                      <a:gd name="connsiteX9" fmla="*/ 432080 w 1256830"/>
                      <a:gd name="connsiteY9" fmla="*/ 565774 h 1967886"/>
                      <a:gd name="connsiteX10" fmla="*/ 658168 w 1256830"/>
                      <a:gd name="connsiteY10" fmla="*/ 656209 h 1967886"/>
                      <a:gd name="connsiteX11" fmla="*/ 728506 w 1256830"/>
                      <a:gd name="connsiteY11" fmla="*/ 394951 h 1967886"/>
                      <a:gd name="connsiteX12" fmla="*/ 537588 w 1256830"/>
                      <a:gd name="connsiteY12" fmla="*/ 324614 h 1967886"/>
                      <a:gd name="connsiteX13" fmla="*/ 517491 w 1256830"/>
                      <a:gd name="connsiteY13" fmla="*/ 199008 h 1967886"/>
                      <a:gd name="connsiteX14" fmla="*/ 402436 w 1256830"/>
                      <a:gd name="connsiteY14" fmla="*/ 0 h 1967886"/>
                      <a:gd name="connsiteX0" fmla="*/ 402436 w 1256830"/>
                      <a:gd name="connsiteY0" fmla="*/ 0 h 1967886"/>
                      <a:gd name="connsiteX1" fmla="*/ 747045 w 1256830"/>
                      <a:gd name="connsiteY1" fmla="*/ 50242 h 1967886"/>
                      <a:gd name="connsiteX2" fmla="*/ 1256830 w 1256830"/>
                      <a:gd name="connsiteY2" fmla="*/ 357663 h 1967886"/>
                      <a:gd name="connsiteX3" fmla="*/ 1168541 w 1256830"/>
                      <a:gd name="connsiteY3" fmla="*/ 686380 h 1967886"/>
                      <a:gd name="connsiteX4" fmla="*/ 973813 w 1256830"/>
                      <a:gd name="connsiteY4" fmla="*/ 1185590 h 1967886"/>
                      <a:gd name="connsiteX5" fmla="*/ 671525 w 1256830"/>
                      <a:gd name="connsiteY5" fmla="*/ 1571577 h 1967886"/>
                      <a:gd name="connsiteX6" fmla="*/ 377835 w 1256830"/>
                      <a:gd name="connsiteY6" fmla="*/ 1967886 h 1967886"/>
                      <a:gd name="connsiteX7" fmla="*/ 472774 w 1256830"/>
                      <a:gd name="connsiteY7" fmla="*/ 1453495 h 1967886"/>
                      <a:gd name="connsiteX8" fmla="*/ 0 w 1256830"/>
                      <a:gd name="connsiteY8" fmla="*/ 1264134 h 1967886"/>
                      <a:gd name="connsiteX9" fmla="*/ 175847 w 1256830"/>
                      <a:gd name="connsiteY9" fmla="*/ 852151 h 1967886"/>
                      <a:gd name="connsiteX10" fmla="*/ 432080 w 1256830"/>
                      <a:gd name="connsiteY10" fmla="*/ 565774 h 1967886"/>
                      <a:gd name="connsiteX11" fmla="*/ 658168 w 1256830"/>
                      <a:gd name="connsiteY11" fmla="*/ 656209 h 1967886"/>
                      <a:gd name="connsiteX12" fmla="*/ 728506 w 1256830"/>
                      <a:gd name="connsiteY12" fmla="*/ 394951 h 1967886"/>
                      <a:gd name="connsiteX13" fmla="*/ 537588 w 1256830"/>
                      <a:gd name="connsiteY13" fmla="*/ 324614 h 1967886"/>
                      <a:gd name="connsiteX14" fmla="*/ 517491 w 1256830"/>
                      <a:gd name="connsiteY14" fmla="*/ 199008 h 1967886"/>
                      <a:gd name="connsiteX15" fmla="*/ 402436 w 1256830"/>
                      <a:gd name="connsiteY15" fmla="*/ 0 h 1967886"/>
                      <a:gd name="connsiteX0" fmla="*/ 402436 w 1256830"/>
                      <a:gd name="connsiteY0" fmla="*/ 0 h 1967886"/>
                      <a:gd name="connsiteX1" fmla="*/ 747045 w 1256830"/>
                      <a:gd name="connsiteY1" fmla="*/ 50242 h 1967886"/>
                      <a:gd name="connsiteX2" fmla="*/ 1256830 w 1256830"/>
                      <a:gd name="connsiteY2" fmla="*/ 357663 h 1967886"/>
                      <a:gd name="connsiteX3" fmla="*/ 1168541 w 1256830"/>
                      <a:gd name="connsiteY3" fmla="*/ 686380 h 1967886"/>
                      <a:gd name="connsiteX4" fmla="*/ 973813 w 1256830"/>
                      <a:gd name="connsiteY4" fmla="*/ 1185590 h 1967886"/>
                      <a:gd name="connsiteX5" fmla="*/ 666763 w 1256830"/>
                      <a:gd name="connsiteY5" fmla="*/ 1604914 h 1967886"/>
                      <a:gd name="connsiteX6" fmla="*/ 377835 w 1256830"/>
                      <a:gd name="connsiteY6" fmla="*/ 1967886 h 1967886"/>
                      <a:gd name="connsiteX7" fmla="*/ 472774 w 1256830"/>
                      <a:gd name="connsiteY7" fmla="*/ 1453495 h 1967886"/>
                      <a:gd name="connsiteX8" fmla="*/ 0 w 1256830"/>
                      <a:gd name="connsiteY8" fmla="*/ 1264134 h 1967886"/>
                      <a:gd name="connsiteX9" fmla="*/ 175847 w 1256830"/>
                      <a:gd name="connsiteY9" fmla="*/ 852151 h 1967886"/>
                      <a:gd name="connsiteX10" fmla="*/ 432080 w 1256830"/>
                      <a:gd name="connsiteY10" fmla="*/ 565774 h 1967886"/>
                      <a:gd name="connsiteX11" fmla="*/ 658168 w 1256830"/>
                      <a:gd name="connsiteY11" fmla="*/ 656209 h 1967886"/>
                      <a:gd name="connsiteX12" fmla="*/ 728506 w 1256830"/>
                      <a:gd name="connsiteY12" fmla="*/ 394951 h 1967886"/>
                      <a:gd name="connsiteX13" fmla="*/ 537588 w 1256830"/>
                      <a:gd name="connsiteY13" fmla="*/ 324614 h 1967886"/>
                      <a:gd name="connsiteX14" fmla="*/ 517491 w 1256830"/>
                      <a:gd name="connsiteY14" fmla="*/ 199008 h 1967886"/>
                      <a:gd name="connsiteX15" fmla="*/ 402436 w 1256830"/>
                      <a:gd name="connsiteY15" fmla="*/ 0 h 1967886"/>
                      <a:gd name="connsiteX0" fmla="*/ 402436 w 1256830"/>
                      <a:gd name="connsiteY0" fmla="*/ 0 h 1967886"/>
                      <a:gd name="connsiteX1" fmla="*/ 747045 w 1256830"/>
                      <a:gd name="connsiteY1" fmla="*/ 50242 h 1967886"/>
                      <a:gd name="connsiteX2" fmla="*/ 1256830 w 1256830"/>
                      <a:gd name="connsiteY2" fmla="*/ 357663 h 1967886"/>
                      <a:gd name="connsiteX3" fmla="*/ 1168541 w 1256830"/>
                      <a:gd name="connsiteY3" fmla="*/ 686380 h 1967886"/>
                      <a:gd name="connsiteX4" fmla="*/ 1085863 w 1256830"/>
                      <a:gd name="connsiteY4" fmla="*/ 890539 h 1967886"/>
                      <a:gd name="connsiteX5" fmla="*/ 973813 w 1256830"/>
                      <a:gd name="connsiteY5" fmla="*/ 1185590 h 1967886"/>
                      <a:gd name="connsiteX6" fmla="*/ 666763 w 1256830"/>
                      <a:gd name="connsiteY6" fmla="*/ 1604914 h 1967886"/>
                      <a:gd name="connsiteX7" fmla="*/ 377835 w 1256830"/>
                      <a:gd name="connsiteY7" fmla="*/ 1967886 h 1967886"/>
                      <a:gd name="connsiteX8" fmla="*/ 472774 w 1256830"/>
                      <a:gd name="connsiteY8" fmla="*/ 1453495 h 1967886"/>
                      <a:gd name="connsiteX9" fmla="*/ 0 w 1256830"/>
                      <a:gd name="connsiteY9" fmla="*/ 1264134 h 1967886"/>
                      <a:gd name="connsiteX10" fmla="*/ 175847 w 1256830"/>
                      <a:gd name="connsiteY10" fmla="*/ 852151 h 1967886"/>
                      <a:gd name="connsiteX11" fmla="*/ 432080 w 1256830"/>
                      <a:gd name="connsiteY11" fmla="*/ 565774 h 1967886"/>
                      <a:gd name="connsiteX12" fmla="*/ 658168 w 1256830"/>
                      <a:gd name="connsiteY12" fmla="*/ 656209 h 1967886"/>
                      <a:gd name="connsiteX13" fmla="*/ 728506 w 1256830"/>
                      <a:gd name="connsiteY13" fmla="*/ 394951 h 1967886"/>
                      <a:gd name="connsiteX14" fmla="*/ 537588 w 1256830"/>
                      <a:gd name="connsiteY14" fmla="*/ 324614 h 1967886"/>
                      <a:gd name="connsiteX15" fmla="*/ 517491 w 1256830"/>
                      <a:gd name="connsiteY15" fmla="*/ 199008 h 1967886"/>
                      <a:gd name="connsiteX16" fmla="*/ 402436 w 1256830"/>
                      <a:gd name="connsiteY16" fmla="*/ 0 h 1967886"/>
                      <a:gd name="connsiteX0" fmla="*/ 402436 w 1256830"/>
                      <a:gd name="connsiteY0" fmla="*/ 0 h 1967886"/>
                      <a:gd name="connsiteX1" fmla="*/ 747045 w 1256830"/>
                      <a:gd name="connsiteY1" fmla="*/ 50242 h 1967886"/>
                      <a:gd name="connsiteX2" fmla="*/ 1256830 w 1256830"/>
                      <a:gd name="connsiteY2" fmla="*/ 357663 h 1967886"/>
                      <a:gd name="connsiteX3" fmla="*/ 1168541 w 1256830"/>
                      <a:gd name="connsiteY3" fmla="*/ 686380 h 1967886"/>
                      <a:gd name="connsiteX4" fmla="*/ 1093007 w 1256830"/>
                      <a:gd name="connsiteY4" fmla="*/ 914352 h 1967886"/>
                      <a:gd name="connsiteX5" fmla="*/ 973813 w 1256830"/>
                      <a:gd name="connsiteY5" fmla="*/ 1185590 h 1967886"/>
                      <a:gd name="connsiteX6" fmla="*/ 666763 w 1256830"/>
                      <a:gd name="connsiteY6" fmla="*/ 1604914 h 1967886"/>
                      <a:gd name="connsiteX7" fmla="*/ 377835 w 1256830"/>
                      <a:gd name="connsiteY7" fmla="*/ 1967886 h 1967886"/>
                      <a:gd name="connsiteX8" fmla="*/ 472774 w 1256830"/>
                      <a:gd name="connsiteY8" fmla="*/ 1453495 h 1967886"/>
                      <a:gd name="connsiteX9" fmla="*/ 0 w 1256830"/>
                      <a:gd name="connsiteY9" fmla="*/ 1264134 h 1967886"/>
                      <a:gd name="connsiteX10" fmla="*/ 175847 w 1256830"/>
                      <a:gd name="connsiteY10" fmla="*/ 852151 h 1967886"/>
                      <a:gd name="connsiteX11" fmla="*/ 432080 w 1256830"/>
                      <a:gd name="connsiteY11" fmla="*/ 565774 h 1967886"/>
                      <a:gd name="connsiteX12" fmla="*/ 658168 w 1256830"/>
                      <a:gd name="connsiteY12" fmla="*/ 656209 h 1967886"/>
                      <a:gd name="connsiteX13" fmla="*/ 728506 w 1256830"/>
                      <a:gd name="connsiteY13" fmla="*/ 394951 h 1967886"/>
                      <a:gd name="connsiteX14" fmla="*/ 537588 w 1256830"/>
                      <a:gd name="connsiteY14" fmla="*/ 324614 h 1967886"/>
                      <a:gd name="connsiteX15" fmla="*/ 517491 w 1256830"/>
                      <a:gd name="connsiteY15" fmla="*/ 199008 h 1967886"/>
                      <a:gd name="connsiteX16" fmla="*/ 402436 w 1256830"/>
                      <a:gd name="connsiteY16" fmla="*/ 0 h 1967886"/>
                      <a:gd name="connsiteX0" fmla="*/ 482112 w 1336506"/>
                      <a:gd name="connsiteY0" fmla="*/ 0 h 1967886"/>
                      <a:gd name="connsiteX1" fmla="*/ 826721 w 1336506"/>
                      <a:gd name="connsiteY1" fmla="*/ 50242 h 1967886"/>
                      <a:gd name="connsiteX2" fmla="*/ 1336506 w 1336506"/>
                      <a:gd name="connsiteY2" fmla="*/ 357663 h 1967886"/>
                      <a:gd name="connsiteX3" fmla="*/ 1248217 w 1336506"/>
                      <a:gd name="connsiteY3" fmla="*/ 686380 h 1967886"/>
                      <a:gd name="connsiteX4" fmla="*/ 1172683 w 1336506"/>
                      <a:gd name="connsiteY4" fmla="*/ 914352 h 1967886"/>
                      <a:gd name="connsiteX5" fmla="*/ 1053489 w 1336506"/>
                      <a:gd name="connsiteY5" fmla="*/ 1185590 h 1967886"/>
                      <a:gd name="connsiteX6" fmla="*/ 746439 w 1336506"/>
                      <a:gd name="connsiteY6" fmla="*/ 1604914 h 1967886"/>
                      <a:gd name="connsiteX7" fmla="*/ 457511 w 1336506"/>
                      <a:gd name="connsiteY7" fmla="*/ 1967886 h 1967886"/>
                      <a:gd name="connsiteX8" fmla="*/ 0 w 1336506"/>
                      <a:gd name="connsiteY8" fmla="*/ 1558270 h 1967886"/>
                      <a:gd name="connsiteX9" fmla="*/ 79676 w 1336506"/>
                      <a:gd name="connsiteY9" fmla="*/ 1264134 h 1967886"/>
                      <a:gd name="connsiteX10" fmla="*/ 255523 w 1336506"/>
                      <a:gd name="connsiteY10" fmla="*/ 852151 h 1967886"/>
                      <a:gd name="connsiteX11" fmla="*/ 511756 w 1336506"/>
                      <a:gd name="connsiteY11" fmla="*/ 565774 h 1967886"/>
                      <a:gd name="connsiteX12" fmla="*/ 737844 w 1336506"/>
                      <a:gd name="connsiteY12" fmla="*/ 656209 h 1967886"/>
                      <a:gd name="connsiteX13" fmla="*/ 808182 w 1336506"/>
                      <a:gd name="connsiteY13" fmla="*/ 394951 h 1967886"/>
                      <a:gd name="connsiteX14" fmla="*/ 617264 w 1336506"/>
                      <a:gd name="connsiteY14" fmla="*/ 324614 h 1967886"/>
                      <a:gd name="connsiteX15" fmla="*/ 597167 w 1336506"/>
                      <a:gd name="connsiteY15" fmla="*/ 199008 h 1967886"/>
                      <a:gd name="connsiteX16" fmla="*/ 482112 w 1336506"/>
                      <a:gd name="connsiteY16" fmla="*/ 0 h 1967886"/>
                      <a:gd name="connsiteX0" fmla="*/ 538168 w 1392562"/>
                      <a:gd name="connsiteY0" fmla="*/ 0 h 1967886"/>
                      <a:gd name="connsiteX1" fmla="*/ 882777 w 1392562"/>
                      <a:gd name="connsiteY1" fmla="*/ 50242 h 1967886"/>
                      <a:gd name="connsiteX2" fmla="*/ 1392562 w 1392562"/>
                      <a:gd name="connsiteY2" fmla="*/ 357663 h 1967886"/>
                      <a:gd name="connsiteX3" fmla="*/ 1304273 w 1392562"/>
                      <a:gd name="connsiteY3" fmla="*/ 686380 h 1967886"/>
                      <a:gd name="connsiteX4" fmla="*/ 1228739 w 1392562"/>
                      <a:gd name="connsiteY4" fmla="*/ 914352 h 1967886"/>
                      <a:gd name="connsiteX5" fmla="*/ 1109545 w 1392562"/>
                      <a:gd name="connsiteY5" fmla="*/ 1185590 h 1967886"/>
                      <a:gd name="connsiteX6" fmla="*/ 802495 w 1392562"/>
                      <a:gd name="connsiteY6" fmla="*/ 1604914 h 1967886"/>
                      <a:gd name="connsiteX7" fmla="*/ 513567 w 1392562"/>
                      <a:gd name="connsiteY7" fmla="*/ 1967886 h 1967886"/>
                      <a:gd name="connsiteX8" fmla="*/ 56056 w 1392562"/>
                      <a:gd name="connsiteY8" fmla="*/ 1558270 h 1967886"/>
                      <a:gd name="connsiteX9" fmla="*/ 0 w 1392562"/>
                      <a:gd name="connsiteY9" fmla="*/ 1452253 h 1967886"/>
                      <a:gd name="connsiteX10" fmla="*/ 311579 w 1392562"/>
                      <a:gd name="connsiteY10" fmla="*/ 852151 h 1967886"/>
                      <a:gd name="connsiteX11" fmla="*/ 567812 w 1392562"/>
                      <a:gd name="connsiteY11" fmla="*/ 565774 h 1967886"/>
                      <a:gd name="connsiteX12" fmla="*/ 793900 w 1392562"/>
                      <a:gd name="connsiteY12" fmla="*/ 656209 h 1967886"/>
                      <a:gd name="connsiteX13" fmla="*/ 864238 w 1392562"/>
                      <a:gd name="connsiteY13" fmla="*/ 394951 h 1967886"/>
                      <a:gd name="connsiteX14" fmla="*/ 673320 w 1392562"/>
                      <a:gd name="connsiteY14" fmla="*/ 324614 h 1967886"/>
                      <a:gd name="connsiteX15" fmla="*/ 653223 w 1392562"/>
                      <a:gd name="connsiteY15" fmla="*/ 199008 h 1967886"/>
                      <a:gd name="connsiteX16" fmla="*/ 538168 w 1392562"/>
                      <a:gd name="connsiteY16" fmla="*/ 0 h 1967886"/>
                      <a:gd name="connsiteX0" fmla="*/ 538168 w 1392562"/>
                      <a:gd name="connsiteY0" fmla="*/ 0 h 1967886"/>
                      <a:gd name="connsiteX1" fmla="*/ 882777 w 1392562"/>
                      <a:gd name="connsiteY1" fmla="*/ 50242 h 1967886"/>
                      <a:gd name="connsiteX2" fmla="*/ 1392562 w 1392562"/>
                      <a:gd name="connsiteY2" fmla="*/ 357663 h 1967886"/>
                      <a:gd name="connsiteX3" fmla="*/ 1304273 w 1392562"/>
                      <a:gd name="connsiteY3" fmla="*/ 686380 h 1967886"/>
                      <a:gd name="connsiteX4" fmla="*/ 1228739 w 1392562"/>
                      <a:gd name="connsiteY4" fmla="*/ 914352 h 1967886"/>
                      <a:gd name="connsiteX5" fmla="*/ 1109545 w 1392562"/>
                      <a:gd name="connsiteY5" fmla="*/ 1185590 h 1967886"/>
                      <a:gd name="connsiteX6" fmla="*/ 802495 w 1392562"/>
                      <a:gd name="connsiteY6" fmla="*/ 1604914 h 1967886"/>
                      <a:gd name="connsiteX7" fmla="*/ 513567 w 1392562"/>
                      <a:gd name="connsiteY7" fmla="*/ 1967886 h 1967886"/>
                      <a:gd name="connsiteX8" fmla="*/ 56056 w 1392562"/>
                      <a:gd name="connsiteY8" fmla="*/ 1558270 h 1967886"/>
                      <a:gd name="connsiteX9" fmla="*/ 0 w 1392562"/>
                      <a:gd name="connsiteY9" fmla="*/ 1452253 h 1967886"/>
                      <a:gd name="connsiteX10" fmla="*/ 123838 w 1392562"/>
                      <a:gd name="connsiteY10" fmla="*/ 1212008 h 1967886"/>
                      <a:gd name="connsiteX11" fmla="*/ 311579 w 1392562"/>
                      <a:gd name="connsiteY11" fmla="*/ 852151 h 1967886"/>
                      <a:gd name="connsiteX12" fmla="*/ 567812 w 1392562"/>
                      <a:gd name="connsiteY12" fmla="*/ 565774 h 1967886"/>
                      <a:gd name="connsiteX13" fmla="*/ 793900 w 1392562"/>
                      <a:gd name="connsiteY13" fmla="*/ 656209 h 1967886"/>
                      <a:gd name="connsiteX14" fmla="*/ 864238 w 1392562"/>
                      <a:gd name="connsiteY14" fmla="*/ 394951 h 1967886"/>
                      <a:gd name="connsiteX15" fmla="*/ 673320 w 1392562"/>
                      <a:gd name="connsiteY15" fmla="*/ 324614 h 1967886"/>
                      <a:gd name="connsiteX16" fmla="*/ 653223 w 1392562"/>
                      <a:gd name="connsiteY16" fmla="*/ 199008 h 1967886"/>
                      <a:gd name="connsiteX17" fmla="*/ 538168 w 1392562"/>
                      <a:gd name="connsiteY17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330616 w 1411599"/>
                      <a:gd name="connsiteY11" fmla="*/ 852151 h 1967886"/>
                      <a:gd name="connsiteX12" fmla="*/ 586849 w 1411599"/>
                      <a:gd name="connsiteY12" fmla="*/ 565774 h 1967886"/>
                      <a:gd name="connsiteX13" fmla="*/ 812937 w 1411599"/>
                      <a:gd name="connsiteY13" fmla="*/ 656209 h 1967886"/>
                      <a:gd name="connsiteX14" fmla="*/ 883275 w 1411599"/>
                      <a:gd name="connsiteY14" fmla="*/ 394951 h 1967886"/>
                      <a:gd name="connsiteX15" fmla="*/ 692357 w 1411599"/>
                      <a:gd name="connsiteY15" fmla="*/ 324614 h 1967886"/>
                      <a:gd name="connsiteX16" fmla="*/ 672260 w 1411599"/>
                      <a:gd name="connsiteY16" fmla="*/ 199008 h 1967886"/>
                      <a:gd name="connsiteX17" fmla="*/ 557205 w 1411599"/>
                      <a:gd name="connsiteY17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38114 w 1411599"/>
                      <a:gd name="connsiteY11" fmla="*/ 1138189 h 1967886"/>
                      <a:gd name="connsiteX12" fmla="*/ 330616 w 1411599"/>
                      <a:gd name="connsiteY12" fmla="*/ 852151 h 1967886"/>
                      <a:gd name="connsiteX13" fmla="*/ 586849 w 1411599"/>
                      <a:gd name="connsiteY13" fmla="*/ 565774 h 1967886"/>
                      <a:gd name="connsiteX14" fmla="*/ 812937 w 1411599"/>
                      <a:gd name="connsiteY14" fmla="*/ 656209 h 1967886"/>
                      <a:gd name="connsiteX15" fmla="*/ 883275 w 1411599"/>
                      <a:gd name="connsiteY15" fmla="*/ 394951 h 1967886"/>
                      <a:gd name="connsiteX16" fmla="*/ 692357 w 1411599"/>
                      <a:gd name="connsiteY16" fmla="*/ 324614 h 1967886"/>
                      <a:gd name="connsiteX17" fmla="*/ 672260 w 1411599"/>
                      <a:gd name="connsiteY17" fmla="*/ 199008 h 1967886"/>
                      <a:gd name="connsiteX18" fmla="*/ 557205 w 1411599"/>
                      <a:gd name="connsiteY18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0616 w 1411599"/>
                      <a:gd name="connsiteY12" fmla="*/ 852151 h 1967886"/>
                      <a:gd name="connsiteX13" fmla="*/ 586849 w 1411599"/>
                      <a:gd name="connsiteY13" fmla="*/ 565774 h 1967886"/>
                      <a:gd name="connsiteX14" fmla="*/ 812937 w 1411599"/>
                      <a:gd name="connsiteY14" fmla="*/ 656209 h 1967886"/>
                      <a:gd name="connsiteX15" fmla="*/ 883275 w 1411599"/>
                      <a:gd name="connsiteY15" fmla="*/ 394951 h 1967886"/>
                      <a:gd name="connsiteX16" fmla="*/ 692357 w 1411599"/>
                      <a:gd name="connsiteY16" fmla="*/ 324614 h 1967886"/>
                      <a:gd name="connsiteX17" fmla="*/ 672260 w 1411599"/>
                      <a:gd name="connsiteY17" fmla="*/ 199008 h 1967886"/>
                      <a:gd name="connsiteX18" fmla="*/ 557205 w 1411599"/>
                      <a:gd name="connsiteY18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169070 w 1411599"/>
                      <a:gd name="connsiteY12" fmla="*/ 1061989 h 1967886"/>
                      <a:gd name="connsiteX13" fmla="*/ 330616 w 1411599"/>
                      <a:gd name="connsiteY13" fmla="*/ 852151 h 1967886"/>
                      <a:gd name="connsiteX14" fmla="*/ 586849 w 1411599"/>
                      <a:gd name="connsiteY14" fmla="*/ 565774 h 1967886"/>
                      <a:gd name="connsiteX15" fmla="*/ 812937 w 1411599"/>
                      <a:gd name="connsiteY15" fmla="*/ 656209 h 1967886"/>
                      <a:gd name="connsiteX16" fmla="*/ 883275 w 1411599"/>
                      <a:gd name="connsiteY16" fmla="*/ 394951 h 1967886"/>
                      <a:gd name="connsiteX17" fmla="*/ 692357 w 1411599"/>
                      <a:gd name="connsiteY17" fmla="*/ 324614 h 1967886"/>
                      <a:gd name="connsiteX18" fmla="*/ 672260 w 1411599"/>
                      <a:gd name="connsiteY18" fmla="*/ 199008 h 1967886"/>
                      <a:gd name="connsiteX19" fmla="*/ 557205 w 1411599"/>
                      <a:gd name="connsiteY19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330616 w 1411599"/>
                      <a:gd name="connsiteY13" fmla="*/ 852151 h 1967886"/>
                      <a:gd name="connsiteX14" fmla="*/ 586849 w 1411599"/>
                      <a:gd name="connsiteY14" fmla="*/ 565774 h 1967886"/>
                      <a:gd name="connsiteX15" fmla="*/ 812937 w 1411599"/>
                      <a:gd name="connsiteY15" fmla="*/ 656209 h 1967886"/>
                      <a:gd name="connsiteX16" fmla="*/ 883275 w 1411599"/>
                      <a:gd name="connsiteY16" fmla="*/ 394951 h 1967886"/>
                      <a:gd name="connsiteX17" fmla="*/ 692357 w 1411599"/>
                      <a:gd name="connsiteY17" fmla="*/ 324614 h 1967886"/>
                      <a:gd name="connsiteX18" fmla="*/ 672260 w 1411599"/>
                      <a:gd name="connsiteY18" fmla="*/ 199008 h 1967886"/>
                      <a:gd name="connsiteX19" fmla="*/ 557205 w 1411599"/>
                      <a:gd name="connsiteY19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95264 w 1411599"/>
                      <a:gd name="connsiteY13" fmla="*/ 1007220 h 1967886"/>
                      <a:gd name="connsiteX14" fmla="*/ 330616 w 1411599"/>
                      <a:gd name="connsiteY14" fmla="*/ 852151 h 1967886"/>
                      <a:gd name="connsiteX15" fmla="*/ 586849 w 1411599"/>
                      <a:gd name="connsiteY15" fmla="*/ 565774 h 1967886"/>
                      <a:gd name="connsiteX16" fmla="*/ 812937 w 1411599"/>
                      <a:gd name="connsiteY16" fmla="*/ 656209 h 1967886"/>
                      <a:gd name="connsiteX17" fmla="*/ 883275 w 1411599"/>
                      <a:gd name="connsiteY17" fmla="*/ 394951 h 1967886"/>
                      <a:gd name="connsiteX18" fmla="*/ 692357 w 1411599"/>
                      <a:gd name="connsiteY18" fmla="*/ 324614 h 1967886"/>
                      <a:gd name="connsiteX19" fmla="*/ 672260 w 1411599"/>
                      <a:gd name="connsiteY19" fmla="*/ 199008 h 1967886"/>
                      <a:gd name="connsiteX20" fmla="*/ 557205 w 1411599"/>
                      <a:gd name="connsiteY20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330616 w 1411599"/>
                      <a:gd name="connsiteY14" fmla="*/ 852151 h 1967886"/>
                      <a:gd name="connsiteX15" fmla="*/ 586849 w 1411599"/>
                      <a:gd name="connsiteY15" fmla="*/ 565774 h 1967886"/>
                      <a:gd name="connsiteX16" fmla="*/ 812937 w 1411599"/>
                      <a:gd name="connsiteY16" fmla="*/ 656209 h 1967886"/>
                      <a:gd name="connsiteX17" fmla="*/ 883275 w 1411599"/>
                      <a:gd name="connsiteY17" fmla="*/ 394951 h 1967886"/>
                      <a:gd name="connsiteX18" fmla="*/ 692357 w 1411599"/>
                      <a:gd name="connsiteY18" fmla="*/ 324614 h 1967886"/>
                      <a:gd name="connsiteX19" fmla="*/ 672260 w 1411599"/>
                      <a:gd name="connsiteY19" fmla="*/ 199008 h 1967886"/>
                      <a:gd name="connsiteX20" fmla="*/ 557205 w 1411599"/>
                      <a:gd name="connsiteY20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33364 w 1411599"/>
                      <a:gd name="connsiteY14" fmla="*/ 945308 h 1967886"/>
                      <a:gd name="connsiteX15" fmla="*/ 330616 w 1411599"/>
                      <a:gd name="connsiteY15" fmla="*/ 852151 h 1967886"/>
                      <a:gd name="connsiteX16" fmla="*/ 586849 w 1411599"/>
                      <a:gd name="connsiteY16" fmla="*/ 565774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30616 w 1411599"/>
                      <a:gd name="connsiteY15" fmla="*/ 852151 h 1967886"/>
                      <a:gd name="connsiteX16" fmla="*/ 586849 w 1411599"/>
                      <a:gd name="connsiteY16" fmla="*/ 565774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23472 w 1411599"/>
                      <a:gd name="connsiteY15" fmla="*/ 749757 h 1967886"/>
                      <a:gd name="connsiteX16" fmla="*/ 586849 w 1411599"/>
                      <a:gd name="connsiteY16" fmla="*/ 565774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23472 w 1411599"/>
                      <a:gd name="connsiteY15" fmla="*/ 749757 h 1967886"/>
                      <a:gd name="connsiteX16" fmla="*/ 417780 w 1411599"/>
                      <a:gd name="connsiteY16" fmla="*/ 496718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417780 w 1411599"/>
                      <a:gd name="connsiteY16" fmla="*/ 496718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812937 w 1411599"/>
                      <a:gd name="connsiteY17" fmla="*/ 656209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429555 w 1411599"/>
                      <a:gd name="connsiteY17" fmla="*/ 463328 h 1967886"/>
                      <a:gd name="connsiteX18" fmla="*/ 883275 w 1411599"/>
                      <a:gd name="connsiteY18" fmla="*/ 394951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429555 w 1411599"/>
                      <a:gd name="connsiteY17" fmla="*/ 463328 h 1967886"/>
                      <a:gd name="connsiteX18" fmla="*/ 464175 w 1411599"/>
                      <a:gd name="connsiteY18" fmla="*/ 340182 h 1967886"/>
                      <a:gd name="connsiteX19" fmla="*/ 692357 w 1411599"/>
                      <a:gd name="connsiteY19" fmla="*/ 324614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429555 w 1411599"/>
                      <a:gd name="connsiteY17" fmla="*/ 463328 h 1967886"/>
                      <a:gd name="connsiteX18" fmla="*/ 464175 w 1411599"/>
                      <a:gd name="connsiteY18" fmla="*/ 340182 h 1967886"/>
                      <a:gd name="connsiteX19" fmla="*/ 473282 w 1411599"/>
                      <a:gd name="connsiteY19" fmla="*/ 215076 h 1967886"/>
                      <a:gd name="connsiteX20" fmla="*/ 672260 w 1411599"/>
                      <a:gd name="connsiteY20" fmla="*/ 199008 h 1967886"/>
                      <a:gd name="connsiteX21" fmla="*/ 557205 w 1411599"/>
                      <a:gd name="connsiteY21" fmla="*/ 0 h 1967886"/>
                      <a:gd name="connsiteX0" fmla="*/ 557205 w 1411599"/>
                      <a:gd name="connsiteY0" fmla="*/ 0 h 1967886"/>
                      <a:gd name="connsiteX1" fmla="*/ 901814 w 1411599"/>
                      <a:gd name="connsiteY1" fmla="*/ 50242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429555 w 1411599"/>
                      <a:gd name="connsiteY17" fmla="*/ 463328 h 1967886"/>
                      <a:gd name="connsiteX18" fmla="*/ 464175 w 1411599"/>
                      <a:gd name="connsiteY18" fmla="*/ 340182 h 1967886"/>
                      <a:gd name="connsiteX19" fmla="*/ 473282 w 1411599"/>
                      <a:gd name="connsiteY19" fmla="*/ 215076 h 1967886"/>
                      <a:gd name="connsiteX20" fmla="*/ 557205 w 1411599"/>
                      <a:gd name="connsiteY20" fmla="*/ 0 h 1967886"/>
                      <a:gd name="connsiteX0" fmla="*/ 557205 w 1411599"/>
                      <a:gd name="connsiteY0" fmla="*/ 0 h 1967886"/>
                      <a:gd name="connsiteX1" fmla="*/ 1008971 w 1411599"/>
                      <a:gd name="connsiteY1" fmla="*/ 185973 h 1967886"/>
                      <a:gd name="connsiteX2" fmla="*/ 1411599 w 1411599"/>
                      <a:gd name="connsiteY2" fmla="*/ 357663 h 1967886"/>
                      <a:gd name="connsiteX3" fmla="*/ 1323310 w 1411599"/>
                      <a:gd name="connsiteY3" fmla="*/ 686380 h 1967886"/>
                      <a:gd name="connsiteX4" fmla="*/ 1247776 w 1411599"/>
                      <a:gd name="connsiteY4" fmla="*/ 914352 h 1967886"/>
                      <a:gd name="connsiteX5" fmla="*/ 1128582 w 1411599"/>
                      <a:gd name="connsiteY5" fmla="*/ 1185590 h 1967886"/>
                      <a:gd name="connsiteX6" fmla="*/ 821532 w 1411599"/>
                      <a:gd name="connsiteY6" fmla="*/ 1604914 h 1967886"/>
                      <a:gd name="connsiteX7" fmla="*/ 532604 w 1411599"/>
                      <a:gd name="connsiteY7" fmla="*/ 1967886 h 1967886"/>
                      <a:gd name="connsiteX8" fmla="*/ 75093 w 1411599"/>
                      <a:gd name="connsiteY8" fmla="*/ 1558270 h 1967886"/>
                      <a:gd name="connsiteX9" fmla="*/ 19037 w 1411599"/>
                      <a:gd name="connsiteY9" fmla="*/ 1452253 h 1967886"/>
                      <a:gd name="connsiteX10" fmla="*/ 0 w 1411599"/>
                      <a:gd name="connsiteY10" fmla="*/ 1362027 h 1967886"/>
                      <a:gd name="connsiteX11" fmla="*/ 14289 w 1411599"/>
                      <a:gd name="connsiteY11" fmla="*/ 1264395 h 1967886"/>
                      <a:gd name="connsiteX12" fmla="*/ 33339 w 1411599"/>
                      <a:gd name="connsiteY12" fmla="*/ 1181052 h 1967886"/>
                      <a:gd name="connsiteX13" fmla="*/ 116682 w 1411599"/>
                      <a:gd name="connsiteY13" fmla="*/ 1076276 h 1967886"/>
                      <a:gd name="connsiteX14" fmla="*/ 247652 w 1411599"/>
                      <a:gd name="connsiteY14" fmla="*/ 950071 h 1967886"/>
                      <a:gd name="connsiteX15" fmla="*/ 313947 w 1411599"/>
                      <a:gd name="connsiteY15" fmla="*/ 771188 h 1967886"/>
                      <a:gd name="connsiteX16" fmla="*/ 351105 w 1411599"/>
                      <a:gd name="connsiteY16" fmla="*/ 653880 h 1967886"/>
                      <a:gd name="connsiteX17" fmla="*/ 429555 w 1411599"/>
                      <a:gd name="connsiteY17" fmla="*/ 463328 h 1967886"/>
                      <a:gd name="connsiteX18" fmla="*/ 464175 w 1411599"/>
                      <a:gd name="connsiteY18" fmla="*/ 340182 h 1967886"/>
                      <a:gd name="connsiteX19" fmla="*/ 473282 w 1411599"/>
                      <a:gd name="connsiteY19" fmla="*/ 215076 h 1967886"/>
                      <a:gd name="connsiteX20" fmla="*/ 557205 w 1411599"/>
                      <a:gd name="connsiteY20" fmla="*/ 0 h 1967886"/>
                      <a:gd name="connsiteX0" fmla="*/ 704856 w 1559250"/>
                      <a:gd name="connsiteY0" fmla="*/ 0 h 1967886"/>
                      <a:gd name="connsiteX1" fmla="*/ 1156622 w 1559250"/>
                      <a:gd name="connsiteY1" fmla="*/ 185973 h 1967886"/>
                      <a:gd name="connsiteX2" fmla="*/ 1559250 w 1559250"/>
                      <a:gd name="connsiteY2" fmla="*/ 357663 h 1967886"/>
                      <a:gd name="connsiteX3" fmla="*/ 1470961 w 1559250"/>
                      <a:gd name="connsiteY3" fmla="*/ 686380 h 1967886"/>
                      <a:gd name="connsiteX4" fmla="*/ 1395427 w 1559250"/>
                      <a:gd name="connsiteY4" fmla="*/ 914352 h 1967886"/>
                      <a:gd name="connsiteX5" fmla="*/ 1276233 w 1559250"/>
                      <a:gd name="connsiteY5" fmla="*/ 1185590 h 1967886"/>
                      <a:gd name="connsiteX6" fmla="*/ 969183 w 1559250"/>
                      <a:gd name="connsiteY6" fmla="*/ 1604914 h 1967886"/>
                      <a:gd name="connsiteX7" fmla="*/ 680255 w 1559250"/>
                      <a:gd name="connsiteY7" fmla="*/ 1967886 h 1967886"/>
                      <a:gd name="connsiteX8" fmla="*/ 222744 w 1559250"/>
                      <a:gd name="connsiteY8" fmla="*/ 1558270 h 1967886"/>
                      <a:gd name="connsiteX9" fmla="*/ 0 w 1559250"/>
                      <a:gd name="connsiteY9" fmla="*/ 1552265 h 1967886"/>
                      <a:gd name="connsiteX10" fmla="*/ 147651 w 1559250"/>
                      <a:gd name="connsiteY10" fmla="*/ 1362027 h 1967886"/>
                      <a:gd name="connsiteX11" fmla="*/ 161940 w 1559250"/>
                      <a:gd name="connsiteY11" fmla="*/ 1264395 h 1967886"/>
                      <a:gd name="connsiteX12" fmla="*/ 180990 w 1559250"/>
                      <a:gd name="connsiteY12" fmla="*/ 1181052 h 1967886"/>
                      <a:gd name="connsiteX13" fmla="*/ 264333 w 1559250"/>
                      <a:gd name="connsiteY13" fmla="*/ 1076276 h 1967886"/>
                      <a:gd name="connsiteX14" fmla="*/ 395303 w 1559250"/>
                      <a:gd name="connsiteY14" fmla="*/ 950071 h 1967886"/>
                      <a:gd name="connsiteX15" fmla="*/ 461598 w 1559250"/>
                      <a:gd name="connsiteY15" fmla="*/ 771188 h 1967886"/>
                      <a:gd name="connsiteX16" fmla="*/ 498756 w 1559250"/>
                      <a:gd name="connsiteY16" fmla="*/ 653880 h 1967886"/>
                      <a:gd name="connsiteX17" fmla="*/ 577206 w 1559250"/>
                      <a:gd name="connsiteY17" fmla="*/ 463328 h 1967886"/>
                      <a:gd name="connsiteX18" fmla="*/ 611826 w 1559250"/>
                      <a:gd name="connsiteY18" fmla="*/ 340182 h 1967886"/>
                      <a:gd name="connsiteX19" fmla="*/ 620933 w 1559250"/>
                      <a:gd name="connsiteY19" fmla="*/ 215076 h 1967886"/>
                      <a:gd name="connsiteX20" fmla="*/ 704856 w 1559250"/>
                      <a:gd name="connsiteY20" fmla="*/ 0 h 1967886"/>
                      <a:gd name="connsiteX0" fmla="*/ 704856 w 1559250"/>
                      <a:gd name="connsiteY0" fmla="*/ 0 h 2203589"/>
                      <a:gd name="connsiteX1" fmla="*/ 1156622 w 1559250"/>
                      <a:gd name="connsiteY1" fmla="*/ 185973 h 2203589"/>
                      <a:gd name="connsiteX2" fmla="*/ 1559250 w 1559250"/>
                      <a:gd name="connsiteY2" fmla="*/ 357663 h 2203589"/>
                      <a:gd name="connsiteX3" fmla="*/ 1470961 w 1559250"/>
                      <a:gd name="connsiteY3" fmla="*/ 686380 h 2203589"/>
                      <a:gd name="connsiteX4" fmla="*/ 1395427 w 1559250"/>
                      <a:gd name="connsiteY4" fmla="*/ 914352 h 2203589"/>
                      <a:gd name="connsiteX5" fmla="*/ 1276233 w 1559250"/>
                      <a:gd name="connsiteY5" fmla="*/ 1185590 h 2203589"/>
                      <a:gd name="connsiteX6" fmla="*/ 969183 w 1559250"/>
                      <a:gd name="connsiteY6" fmla="*/ 1604914 h 2203589"/>
                      <a:gd name="connsiteX7" fmla="*/ 680255 w 1559250"/>
                      <a:gd name="connsiteY7" fmla="*/ 1967886 h 2203589"/>
                      <a:gd name="connsiteX8" fmla="*/ 715663 w 1559250"/>
                      <a:gd name="connsiteY8" fmla="*/ 2203589 h 2203589"/>
                      <a:gd name="connsiteX9" fmla="*/ 0 w 1559250"/>
                      <a:gd name="connsiteY9" fmla="*/ 1552265 h 2203589"/>
                      <a:gd name="connsiteX10" fmla="*/ 147651 w 1559250"/>
                      <a:gd name="connsiteY10" fmla="*/ 1362027 h 2203589"/>
                      <a:gd name="connsiteX11" fmla="*/ 161940 w 1559250"/>
                      <a:gd name="connsiteY11" fmla="*/ 1264395 h 2203589"/>
                      <a:gd name="connsiteX12" fmla="*/ 180990 w 1559250"/>
                      <a:gd name="connsiteY12" fmla="*/ 1181052 h 2203589"/>
                      <a:gd name="connsiteX13" fmla="*/ 264333 w 1559250"/>
                      <a:gd name="connsiteY13" fmla="*/ 1076276 h 2203589"/>
                      <a:gd name="connsiteX14" fmla="*/ 395303 w 1559250"/>
                      <a:gd name="connsiteY14" fmla="*/ 950071 h 2203589"/>
                      <a:gd name="connsiteX15" fmla="*/ 461598 w 1559250"/>
                      <a:gd name="connsiteY15" fmla="*/ 771188 h 2203589"/>
                      <a:gd name="connsiteX16" fmla="*/ 498756 w 1559250"/>
                      <a:gd name="connsiteY16" fmla="*/ 653880 h 2203589"/>
                      <a:gd name="connsiteX17" fmla="*/ 577206 w 1559250"/>
                      <a:gd name="connsiteY17" fmla="*/ 463328 h 2203589"/>
                      <a:gd name="connsiteX18" fmla="*/ 611826 w 1559250"/>
                      <a:gd name="connsiteY18" fmla="*/ 340182 h 2203589"/>
                      <a:gd name="connsiteX19" fmla="*/ 620933 w 1559250"/>
                      <a:gd name="connsiteY19" fmla="*/ 215076 h 2203589"/>
                      <a:gd name="connsiteX20" fmla="*/ 704856 w 1559250"/>
                      <a:gd name="connsiteY20" fmla="*/ 0 h 2203589"/>
                      <a:gd name="connsiteX0" fmla="*/ 704856 w 1559250"/>
                      <a:gd name="connsiteY0" fmla="*/ 0 h 2306024"/>
                      <a:gd name="connsiteX1" fmla="*/ 1156622 w 1559250"/>
                      <a:gd name="connsiteY1" fmla="*/ 185973 h 2306024"/>
                      <a:gd name="connsiteX2" fmla="*/ 1559250 w 1559250"/>
                      <a:gd name="connsiteY2" fmla="*/ 357663 h 2306024"/>
                      <a:gd name="connsiteX3" fmla="*/ 1470961 w 1559250"/>
                      <a:gd name="connsiteY3" fmla="*/ 686380 h 2306024"/>
                      <a:gd name="connsiteX4" fmla="*/ 1395427 w 1559250"/>
                      <a:gd name="connsiteY4" fmla="*/ 914352 h 2306024"/>
                      <a:gd name="connsiteX5" fmla="*/ 1276233 w 1559250"/>
                      <a:gd name="connsiteY5" fmla="*/ 1185590 h 2306024"/>
                      <a:gd name="connsiteX6" fmla="*/ 969183 w 1559250"/>
                      <a:gd name="connsiteY6" fmla="*/ 1604914 h 2306024"/>
                      <a:gd name="connsiteX7" fmla="*/ 899330 w 1559250"/>
                      <a:gd name="connsiteY7" fmla="*/ 2306024 h 2306024"/>
                      <a:gd name="connsiteX8" fmla="*/ 715663 w 1559250"/>
                      <a:gd name="connsiteY8" fmla="*/ 2203589 h 2306024"/>
                      <a:gd name="connsiteX9" fmla="*/ 0 w 1559250"/>
                      <a:gd name="connsiteY9" fmla="*/ 1552265 h 2306024"/>
                      <a:gd name="connsiteX10" fmla="*/ 147651 w 1559250"/>
                      <a:gd name="connsiteY10" fmla="*/ 1362027 h 2306024"/>
                      <a:gd name="connsiteX11" fmla="*/ 161940 w 1559250"/>
                      <a:gd name="connsiteY11" fmla="*/ 1264395 h 2306024"/>
                      <a:gd name="connsiteX12" fmla="*/ 180990 w 1559250"/>
                      <a:gd name="connsiteY12" fmla="*/ 1181052 h 2306024"/>
                      <a:gd name="connsiteX13" fmla="*/ 264333 w 1559250"/>
                      <a:gd name="connsiteY13" fmla="*/ 1076276 h 2306024"/>
                      <a:gd name="connsiteX14" fmla="*/ 395303 w 1559250"/>
                      <a:gd name="connsiteY14" fmla="*/ 950071 h 2306024"/>
                      <a:gd name="connsiteX15" fmla="*/ 461598 w 1559250"/>
                      <a:gd name="connsiteY15" fmla="*/ 771188 h 2306024"/>
                      <a:gd name="connsiteX16" fmla="*/ 498756 w 1559250"/>
                      <a:gd name="connsiteY16" fmla="*/ 653880 h 2306024"/>
                      <a:gd name="connsiteX17" fmla="*/ 577206 w 1559250"/>
                      <a:gd name="connsiteY17" fmla="*/ 463328 h 2306024"/>
                      <a:gd name="connsiteX18" fmla="*/ 611826 w 1559250"/>
                      <a:gd name="connsiteY18" fmla="*/ 340182 h 2306024"/>
                      <a:gd name="connsiteX19" fmla="*/ 620933 w 1559250"/>
                      <a:gd name="connsiteY19" fmla="*/ 215076 h 2306024"/>
                      <a:gd name="connsiteX20" fmla="*/ 704856 w 1559250"/>
                      <a:gd name="connsiteY20" fmla="*/ 0 h 2306024"/>
                      <a:gd name="connsiteX0" fmla="*/ 704856 w 1559250"/>
                      <a:gd name="connsiteY0" fmla="*/ 0 h 2306024"/>
                      <a:gd name="connsiteX1" fmla="*/ 1156622 w 1559250"/>
                      <a:gd name="connsiteY1" fmla="*/ 185973 h 2306024"/>
                      <a:gd name="connsiteX2" fmla="*/ 1559250 w 1559250"/>
                      <a:gd name="connsiteY2" fmla="*/ 357663 h 2306024"/>
                      <a:gd name="connsiteX3" fmla="*/ 1470961 w 1559250"/>
                      <a:gd name="connsiteY3" fmla="*/ 686380 h 2306024"/>
                      <a:gd name="connsiteX4" fmla="*/ 1395427 w 1559250"/>
                      <a:gd name="connsiteY4" fmla="*/ 914352 h 2306024"/>
                      <a:gd name="connsiteX5" fmla="*/ 1276233 w 1559250"/>
                      <a:gd name="connsiteY5" fmla="*/ 1185590 h 2306024"/>
                      <a:gd name="connsiteX6" fmla="*/ 969183 w 1559250"/>
                      <a:gd name="connsiteY6" fmla="*/ 1604914 h 2306024"/>
                      <a:gd name="connsiteX7" fmla="*/ 934069 w 1559250"/>
                      <a:gd name="connsiteY7" fmla="*/ 1976804 h 2306024"/>
                      <a:gd name="connsiteX8" fmla="*/ 899330 w 1559250"/>
                      <a:gd name="connsiteY8" fmla="*/ 2306024 h 2306024"/>
                      <a:gd name="connsiteX9" fmla="*/ 715663 w 1559250"/>
                      <a:gd name="connsiteY9" fmla="*/ 2203589 h 2306024"/>
                      <a:gd name="connsiteX10" fmla="*/ 0 w 1559250"/>
                      <a:gd name="connsiteY10" fmla="*/ 1552265 h 2306024"/>
                      <a:gd name="connsiteX11" fmla="*/ 147651 w 1559250"/>
                      <a:gd name="connsiteY11" fmla="*/ 1362027 h 2306024"/>
                      <a:gd name="connsiteX12" fmla="*/ 161940 w 1559250"/>
                      <a:gd name="connsiteY12" fmla="*/ 1264395 h 2306024"/>
                      <a:gd name="connsiteX13" fmla="*/ 180990 w 1559250"/>
                      <a:gd name="connsiteY13" fmla="*/ 1181052 h 2306024"/>
                      <a:gd name="connsiteX14" fmla="*/ 264333 w 1559250"/>
                      <a:gd name="connsiteY14" fmla="*/ 1076276 h 2306024"/>
                      <a:gd name="connsiteX15" fmla="*/ 395303 w 1559250"/>
                      <a:gd name="connsiteY15" fmla="*/ 950071 h 2306024"/>
                      <a:gd name="connsiteX16" fmla="*/ 461598 w 1559250"/>
                      <a:gd name="connsiteY16" fmla="*/ 771188 h 2306024"/>
                      <a:gd name="connsiteX17" fmla="*/ 498756 w 1559250"/>
                      <a:gd name="connsiteY17" fmla="*/ 653880 h 2306024"/>
                      <a:gd name="connsiteX18" fmla="*/ 577206 w 1559250"/>
                      <a:gd name="connsiteY18" fmla="*/ 463328 h 2306024"/>
                      <a:gd name="connsiteX19" fmla="*/ 611826 w 1559250"/>
                      <a:gd name="connsiteY19" fmla="*/ 340182 h 2306024"/>
                      <a:gd name="connsiteX20" fmla="*/ 620933 w 1559250"/>
                      <a:gd name="connsiteY20" fmla="*/ 215076 h 2306024"/>
                      <a:gd name="connsiteX21" fmla="*/ 704856 w 1559250"/>
                      <a:gd name="connsiteY21" fmla="*/ 0 h 2306024"/>
                      <a:gd name="connsiteX0" fmla="*/ 704856 w 1559250"/>
                      <a:gd name="connsiteY0" fmla="*/ 0 h 2336373"/>
                      <a:gd name="connsiteX1" fmla="*/ 1156622 w 1559250"/>
                      <a:gd name="connsiteY1" fmla="*/ 185973 h 2336373"/>
                      <a:gd name="connsiteX2" fmla="*/ 1559250 w 1559250"/>
                      <a:gd name="connsiteY2" fmla="*/ 357663 h 2336373"/>
                      <a:gd name="connsiteX3" fmla="*/ 1470961 w 1559250"/>
                      <a:gd name="connsiteY3" fmla="*/ 686380 h 2336373"/>
                      <a:gd name="connsiteX4" fmla="*/ 1395427 w 1559250"/>
                      <a:gd name="connsiteY4" fmla="*/ 914352 h 2336373"/>
                      <a:gd name="connsiteX5" fmla="*/ 1276233 w 1559250"/>
                      <a:gd name="connsiteY5" fmla="*/ 1185590 h 2336373"/>
                      <a:gd name="connsiteX6" fmla="*/ 969183 w 1559250"/>
                      <a:gd name="connsiteY6" fmla="*/ 1604914 h 2336373"/>
                      <a:gd name="connsiteX7" fmla="*/ 1031700 w 1559250"/>
                      <a:gd name="connsiteY7" fmla="*/ 2336373 h 2336373"/>
                      <a:gd name="connsiteX8" fmla="*/ 899330 w 1559250"/>
                      <a:gd name="connsiteY8" fmla="*/ 2306024 h 2336373"/>
                      <a:gd name="connsiteX9" fmla="*/ 715663 w 1559250"/>
                      <a:gd name="connsiteY9" fmla="*/ 2203589 h 2336373"/>
                      <a:gd name="connsiteX10" fmla="*/ 0 w 1559250"/>
                      <a:gd name="connsiteY10" fmla="*/ 1552265 h 2336373"/>
                      <a:gd name="connsiteX11" fmla="*/ 147651 w 1559250"/>
                      <a:gd name="connsiteY11" fmla="*/ 1362027 h 2336373"/>
                      <a:gd name="connsiteX12" fmla="*/ 161940 w 1559250"/>
                      <a:gd name="connsiteY12" fmla="*/ 1264395 h 2336373"/>
                      <a:gd name="connsiteX13" fmla="*/ 180990 w 1559250"/>
                      <a:gd name="connsiteY13" fmla="*/ 1181052 h 2336373"/>
                      <a:gd name="connsiteX14" fmla="*/ 264333 w 1559250"/>
                      <a:gd name="connsiteY14" fmla="*/ 1076276 h 2336373"/>
                      <a:gd name="connsiteX15" fmla="*/ 395303 w 1559250"/>
                      <a:gd name="connsiteY15" fmla="*/ 950071 h 2336373"/>
                      <a:gd name="connsiteX16" fmla="*/ 461598 w 1559250"/>
                      <a:gd name="connsiteY16" fmla="*/ 771188 h 2336373"/>
                      <a:gd name="connsiteX17" fmla="*/ 498756 w 1559250"/>
                      <a:gd name="connsiteY17" fmla="*/ 653880 h 2336373"/>
                      <a:gd name="connsiteX18" fmla="*/ 577206 w 1559250"/>
                      <a:gd name="connsiteY18" fmla="*/ 463328 h 2336373"/>
                      <a:gd name="connsiteX19" fmla="*/ 611826 w 1559250"/>
                      <a:gd name="connsiteY19" fmla="*/ 340182 h 2336373"/>
                      <a:gd name="connsiteX20" fmla="*/ 620933 w 1559250"/>
                      <a:gd name="connsiteY20" fmla="*/ 215076 h 2336373"/>
                      <a:gd name="connsiteX21" fmla="*/ 704856 w 1559250"/>
                      <a:gd name="connsiteY21" fmla="*/ 0 h 2336373"/>
                      <a:gd name="connsiteX0" fmla="*/ 704856 w 1559250"/>
                      <a:gd name="connsiteY0" fmla="*/ 0 h 2336373"/>
                      <a:gd name="connsiteX1" fmla="*/ 1156622 w 1559250"/>
                      <a:gd name="connsiteY1" fmla="*/ 185973 h 2336373"/>
                      <a:gd name="connsiteX2" fmla="*/ 1559250 w 1559250"/>
                      <a:gd name="connsiteY2" fmla="*/ 357663 h 2336373"/>
                      <a:gd name="connsiteX3" fmla="*/ 1470961 w 1559250"/>
                      <a:gd name="connsiteY3" fmla="*/ 686380 h 2336373"/>
                      <a:gd name="connsiteX4" fmla="*/ 1395427 w 1559250"/>
                      <a:gd name="connsiteY4" fmla="*/ 914352 h 2336373"/>
                      <a:gd name="connsiteX5" fmla="*/ 1276233 w 1559250"/>
                      <a:gd name="connsiteY5" fmla="*/ 1185590 h 2336373"/>
                      <a:gd name="connsiteX6" fmla="*/ 969183 w 1559250"/>
                      <a:gd name="connsiteY6" fmla="*/ 1604914 h 2336373"/>
                      <a:gd name="connsiteX7" fmla="*/ 1003125 w 1559250"/>
                      <a:gd name="connsiteY7" fmla="*/ 2041098 h 2336373"/>
                      <a:gd name="connsiteX8" fmla="*/ 1031700 w 1559250"/>
                      <a:gd name="connsiteY8" fmla="*/ 2336373 h 2336373"/>
                      <a:gd name="connsiteX9" fmla="*/ 899330 w 1559250"/>
                      <a:gd name="connsiteY9" fmla="*/ 2306024 h 2336373"/>
                      <a:gd name="connsiteX10" fmla="*/ 715663 w 1559250"/>
                      <a:gd name="connsiteY10" fmla="*/ 2203589 h 2336373"/>
                      <a:gd name="connsiteX11" fmla="*/ 0 w 1559250"/>
                      <a:gd name="connsiteY11" fmla="*/ 1552265 h 2336373"/>
                      <a:gd name="connsiteX12" fmla="*/ 147651 w 1559250"/>
                      <a:gd name="connsiteY12" fmla="*/ 1362027 h 2336373"/>
                      <a:gd name="connsiteX13" fmla="*/ 161940 w 1559250"/>
                      <a:gd name="connsiteY13" fmla="*/ 1264395 h 2336373"/>
                      <a:gd name="connsiteX14" fmla="*/ 180990 w 1559250"/>
                      <a:gd name="connsiteY14" fmla="*/ 1181052 h 2336373"/>
                      <a:gd name="connsiteX15" fmla="*/ 264333 w 1559250"/>
                      <a:gd name="connsiteY15" fmla="*/ 1076276 h 2336373"/>
                      <a:gd name="connsiteX16" fmla="*/ 395303 w 1559250"/>
                      <a:gd name="connsiteY16" fmla="*/ 950071 h 2336373"/>
                      <a:gd name="connsiteX17" fmla="*/ 461598 w 1559250"/>
                      <a:gd name="connsiteY17" fmla="*/ 771188 h 2336373"/>
                      <a:gd name="connsiteX18" fmla="*/ 498756 w 1559250"/>
                      <a:gd name="connsiteY18" fmla="*/ 653880 h 2336373"/>
                      <a:gd name="connsiteX19" fmla="*/ 577206 w 1559250"/>
                      <a:gd name="connsiteY19" fmla="*/ 463328 h 2336373"/>
                      <a:gd name="connsiteX20" fmla="*/ 611826 w 1559250"/>
                      <a:gd name="connsiteY20" fmla="*/ 340182 h 2336373"/>
                      <a:gd name="connsiteX21" fmla="*/ 620933 w 1559250"/>
                      <a:gd name="connsiteY21" fmla="*/ 215076 h 2336373"/>
                      <a:gd name="connsiteX22" fmla="*/ 704856 w 1559250"/>
                      <a:gd name="connsiteY22" fmla="*/ 0 h 2336373"/>
                      <a:gd name="connsiteX0" fmla="*/ 704856 w 1559250"/>
                      <a:gd name="connsiteY0" fmla="*/ 0 h 2350661"/>
                      <a:gd name="connsiteX1" fmla="*/ 1156622 w 1559250"/>
                      <a:gd name="connsiteY1" fmla="*/ 185973 h 2350661"/>
                      <a:gd name="connsiteX2" fmla="*/ 1559250 w 1559250"/>
                      <a:gd name="connsiteY2" fmla="*/ 357663 h 2350661"/>
                      <a:gd name="connsiteX3" fmla="*/ 1470961 w 1559250"/>
                      <a:gd name="connsiteY3" fmla="*/ 686380 h 2350661"/>
                      <a:gd name="connsiteX4" fmla="*/ 1395427 w 1559250"/>
                      <a:gd name="connsiteY4" fmla="*/ 914352 h 2350661"/>
                      <a:gd name="connsiteX5" fmla="*/ 1276233 w 1559250"/>
                      <a:gd name="connsiteY5" fmla="*/ 1185590 h 2350661"/>
                      <a:gd name="connsiteX6" fmla="*/ 969183 w 1559250"/>
                      <a:gd name="connsiteY6" fmla="*/ 1604914 h 2350661"/>
                      <a:gd name="connsiteX7" fmla="*/ 1193625 w 1559250"/>
                      <a:gd name="connsiteY7" fmla="*/ 2350661 h 2350661"/>
                      <a:gd name="connsiteX8" fmla="*/ 1031700 w 1559250"/>
                      <a:gd name="connsiteY8" fmla="*/ 2336373 h 2350661"/>
                      <a:gd name="connsiteX9" fmla="*/ 899330 w 1559250"/>
                      <a:gd name="connsiteY9" fmla="*/ 2306024 h 2350661"/>
                      <a:gd name="connsiteX10" fmla="*/ 715663 w 1559250"/>
                      <a:gd name="connsiteY10" fmla="*/ 2203589 h 2350661"/>
                      <a:gd name="connsiteX11" fmla="*/ 0 w 1559250"/>
                      <a:gd name="connsiteY11" fmla="*/ 1552265 h 2350661"/>
                      <a:gd name="connsiteX12" fmla="*/ 147651 w 1559250"/>
                      <a:gd name="connsiteY12" fmla="*/ 1362027 h 2350661"/>
                      <a:gd name="connsiteX13" fmla="*/ 161940 w 1559250"/>
                      <a:gd name="connsiteY13" fmla="*/ 1264395 h 2350661"/>
                      <a:gd name="connsiteX14" fmla="*/ 180990 w 1559250"/>
                      <a:gd name="connsiteY14" fmla="*/ 1181052 h 2350661"/>
                      <a:gd name="connsiteX15" fmla="*/ 264333 w 1559250"/>
                      <a:gd name="connsiteY15" fmla="*/ 1076276 h 2350661"/>
                      <a:gd name="connsiteX16" fmla="*/ 395303 w 1559250"/>
                      <a:gd name="connsiteY16" fmla="*/ 950071 h 2350661"/>
                      <a:gd name="connsiteX17" fmla="*/ 461598 w 1559250"/>
                      <a:gd name="connsiteY17" fmla="*/ 771188 h 2350661"/>
                      <a:gd name="connsiteX18" fmla="*/ 498756 w 1559250"/>
                      <a:gd name="connsiteY18" fmla="*/ 653880 h 2350661"/>
                      <a:gd name="connsiteX19" fmla="*/ 577206 w 1559250"/>
                      <a:gd name="connsiteY19" fmla="*/ 463328 h 2350661"/>
                      <a:gd name="connsiteX20" fmla="*/ 611826 w 1559250"/>
                      <a:gd name="connsiteY20" fmla="*/ 340182 h 2350661"/>
                      <a:gd name="connsiteX21" fmla="*/ 620933 w 1559250"/>
                      <a:gd name="connsiteY21" fmla="*/ 215076 h 2350661"/>
                      <a:gd name="connsiteX22" fmla="*/ 704856 w 1559250"/>
                      <a:gd name="connsiteY22" fmla="*/ 0 h 2350661"/>
                      <a:gd name="connsiteX0" fmla="*/ 704856 w 1559250"/>
                      <a:gd name="connsiteY0" fmla="*/ 0 h 2350661"/>
                      <a:gd name="connsiteX1" fmla="*/ 1156622 w 1559250"/>
                      <a:gd name="connsiteY1" fmla="*/ 185973 h 2350661"/>
                      <a:gd name="connsiteX2" fmla="*/ 1559250 w 1559250"/>
                      <a:gd name="connsiteY2" fmla="*/ 357663 h 2350661"/>
                      <a:gd name="connsiteX3" fmla="*/ 1470961 w 1559250"/>
                      <a:gd name="connsiteY3" fmla="*/ 686380 h 2350661"/>
                      <a:gd name="connsiteX4" fmla="*/ 1395427 w 1559250"/>
                      <a:gd name="connsiteY4" fmla="*/ 914352 h 2350661"/>
                      <a:gd name="connsiteX5" fmla="*/ 1276233 w 1559250"/>
                      <a:gd name="connsiteY5" fmla="*/ 1185590 h 2350661"/>
                      <a:gd name="connsiteX6" fmla="*/ 969183 w 1559250"/>
                      <a:gd name="connsiteY6" fmla="*/ 1604914 h 2350661"/>
                      <a:gd name="connsiteX7" fmla="*/ 1079325 w 1559250"/>
                      <a:gd name="connsiteY7" fmla="*/ 1974423 h 2350661"/>
                      <a:gd name="connsiteX8" fmla="*/ 1193625 w 1559250"/>
                      <a:gd name="connsiteY8" fmla="*/ 2350661 h 2350661"/>
                      <a:gd name="connsiteX9" fmla="*/ 1031700 w 1559250"/>
                      <a:gd name="connsiteY9" fmla="*/ 2336373 h 2350661"/>
                      <a:gd name="connsiteX10" fmla="*/ 899330 w 1559250"/>
                      <a:gd name="connsiteY10" fmla="*/ 2306024 h 2350661"/>
                      <a:gd name="connsiteX11" fmla="*/ 715663 w 1559250"/>
                      <a:gd name="connsiteY11" fmla="*/ 2203589 h 2350661"/>
                      <a:gd name="connsiteX12" fmla="*/ 0 w 1559250"/>
                      <a:gd name="connsiteY12" fmla="*/ 1552265 h 2350661"/>
                      <a:gd name="connsiteX13" fmla="*/ 147651 w 1559250"/>
                      <a:gd name="connsiteY13" fmla="*/ 1362027 h 2350661"/>
                      <a:gd name="connsiteX14" fmla="*/ 161940 w 1559250"/>
                      <a:gd name="connsiteY14" fmla="*/ 1264395 h 2350661"/>
                      <a:gd name="connsiteX15" fmla="*/ 180990 w 1559250"/>
                      <a:gd name="connsiteY15" fmla="*/ 1181052 h 2350661"/>
                      <a:gd name="connsiteX16" fmla="*/ 264333 w 1559250"/>
                      <a:gd name="connsiteY16" fmla="*/ 1076276 h 2350661"/>
                      <a:gd name="connsiteX17" fmla="*/ 395303 w 1559250"/>
                      <a:gd name="connsiteY17" fmla="*/ 950071 h 2350661"/>
                      <a:gd name="connsiteX18" fmla="*/ 461598 w 1559250"/>
                      <a:gd name="connsiteY18" fmla="*/ 771188 h 2350661"/>
                      <a:gd name="connsiteX19" fmla="*/ 498756 w 1559250"/>
                      <a:gd name="connsiteY19" fmla="*/ 653880 h 2350661"/>
                      <a:gd name="connsiteX20" fmla="*/ 577206 w 1559250"/>
                      <a:gd name="connsiteY20" fmla="*/ 463328 h 2350661"/>
                      <a:gd name="connsiteX21" fmla="*/ 611826 w 1559250"/>
                      <a:gd name="connsiteY21" fmla="*/ 340182 h 2350661"/>
                      <a:gd name="connsiteX22" fmla="*/ 620933 w 1559250"/>
                      <a:gd name="connsiteY22" fmla="*/ 215076 h 2350661"/>
                      <a:gd name="connsiteX23" fmla="*/ 704856 w 1559250"/>
                      <a:gd name="connsiteY23" fmla="*/ 0 h 2350661"/>
                      <a:gd name="connsiteX0" fmla="*/ 704856 w 1559250"/>
                      <a:gd name="connsiteY0" fmla="*/ 0 h 2350661"/>
                      <a:gd name="connsiteX1" fmla="*/ 1156622 w 1559250"/>
                      <a:gd name="connsiteY1" fmla="*/ 185973 h 2350661"/>
                      <a:gd name="connsiteX2" fmla="*/ 1559250 w 1559250"/>
                      <a:gd name="connsiteY2" fmla="*/ 357663 h 2350661"/>
                      <a:gd name="connsiteX3" fmla="*/ 1470961 w 1559250"/>
                      <a:gd name="connsiteY3" fmla="*/ 686380 h 2350661"/>
                      <a:gd name="connsiteX4" fmla="*/ 1395427 w 1559250"/>
                      <a:gd name="connsiteY4" fmla="*/ 914352 h 2350661"/>
                      <a:gd name="connsiteX5" fmla="*/ 1276233 w 1559250"/>
                      <a:gd name="connsiteY5" fmla="*/ 1185590 h 2350661"/>
                      <a:gd name="connsiteX6" fmla="*/ 969183 w 1559250"/>
                      <a:gd name="connsiteY6" fmla="*/ 1604914 h 2350661"/>
                      <a:gd name="connsiteX7" fmla="*/ 1357931 w 1559250"/>
                      <a:gd name="connsiteY7" fmla="*/ 2312560 h 2350661"/>
                      <a:gd name="connsiteX8" fmla="*/ 1193625 w 1559250"/>
                      <a:gd name="connsiteY8" fmla="*/ 2350661 h 2350661"/>
                      <a:gd name="connsiteX9" fmla="*/ 1031700 w 1559250"/>
                      <a:gd name="connsiteY9" fmla="*/ 2336373 h 2350661"/>
                      <a:gd name="connsiteX10" fmla="*/ 899330 w 1559250"/>
                      <a:gd name="connsiteY10" fmla="*/ 2306024 h 2350661"/>
                      <a:gd name="connsiteX11" fmla="*/ 715663 w 1559250"/>
                      <a:gd name="connsiteY11" fmla="*/ 2203589 h 2350661"/>
                      <a:gd name="connsiteX12" fmla="*/ 0 w 1559250"/>
                      <a:gd name="connsiteY12" fmla="*/ 1552265 h 2350661"/>
                      <a:gd name="connsiteX13" fmla="*/ 147651 w 1559250"/>
                      <a:gd name="connsiteY13" fmla="*/ 1362027 h 2350661"/>
                      <a:gd name="connsiteX14" fmla="*/ 161940 w 1559250"/>
                      <a:gd name="connsiteY14" fmla="*/ 1264395 h 2350661"/>
                      <a:gd name="connsiteX15" fmla="*/ 180990 w 1559250"/>
                      <a:gd name="connsiteY15" fmla="*/ 1181052 h 2350661"/>
                      <a:gd name="connsiteX16" fmla="*/ 264333 w 1559250"/>
                      <a:gd name="connsiteY16" fmla="*/ 1076276 h 2350661"/>
                      <a:gd name="connsiteX17" fmla="*/ 395303 w 1559250"/>
                      <a:gd name="connsiteY17" fmla="*/ 950071 h 2350661"/>
                      <a:gd name="connsiteX18" fmla="*/ 461598 w 1559250"/>
                      <a:gd name="connsiteY18" fmla="*/ 771188 h 2350661"/>
                      <a:gd name="connsiteX19" fmla="*/ 498756 w 1559250"/>
                      <a:gd name="connsiteY19" fmla="*/ 653880 h 2350661"/>
                      <a:gd name="connsiteX20" fmla="*/ 577206 w 1559250"/>
                      <a:gd name="connsiteY20" fmla="*/ 463328 h 2350661"/>
                      <a:gd name="connsiteX21" fmla="*/ 611826 w 1559250"/>
                      <a:gd name="connsiteY21" fmla="*/ 340182 h 2350661"/>
                      <a:gd name="connsiteX22" fmla="*/ 620933 w 1559250"/>
                      <a:gd name="connsiteY22" fmla="*/ 215076 h 2350661"/>
                      <a:gd name="connsiteX23" fmla="*/ 704856 w 1559250"/>
                      <a:gd name="connsiteY23" fmla="*/ 0 h 2350661"/>
                      <a:gd name="connsiteX0" fmla="*/ 704856 w 1559250"/>
                      <a:gd name="connsiteY0" fmla="*/ 0 h 2350661"/>
                      <a:gd name="connsiteX1" fmla="*/ 1156622 w 1559250"/>
                      <a:gd name="connsiteY1" fmla="*/ 185973 h 2350661"/>
                      <a:gd name="connsiteX2" fmla="*/ 1559250 w 1559250"/>
                      <a:gd name="connsiteY2" fmla="*/ 357663 h 2350661"/>
                      <a:gd name="connsiteX3" fmla="*/ 1470961 w 1559250"/>
                      <a:gd name="connsiteY3" fmla="*/ 686380 h 2350661"/>
                      <a:gd name="connsiteX4" fmla="*/ 1395427 w 1559250"/>
                      <a:gd name="connsiteY4" fmla="*/ 914352 h 2350661"/>
                      <a:gd name="connsiteX5" fmla="*/ 1276233 w 1559250"/>
                      <a:gd name="connsiteY5" fmla="*/ 1185590 h 2350661"/>
                      <a:gd name="connsiteX6" fmla="*/ 969183 w 1559250"/>
                      <a:gd name="connsiteY6" fmla="*/ 1604914 h 2350661"/>
                      <a:gd name="connsiteX7" fmla="*/ 1167431 w 1559250"/>
                      <a:gd name="connsiteY7" fmla="*/ 1974423 h 2350661"/>
                      <a:gd name="connsiteX8" fmla="*/ 1357931 w 1559250"/>
                      <a:gd name="connsiteY8" fmla="*/ 2312560 h 2350661"/>
                      <a:gd name="connsiteX9" fmla="*/ 1193625 w 1559250"/>
                      <a:gd name="connsiteY9" fmla="*/ 2350661 h 2350661"/>
                      <a:gd name="connsiteX10" fmla="*/ 1031700 w 1559250"/>
                      <a:gd name="connsiteY10" fmla="*/ 2336373 h 2350661"/>
                      <a:gd name="connsiteX11" fmla="*/ 899330 w 1559250"/>
                      <a:gd name="connsiteY11" fmla="*/ 2306024 h 2350661"/>
                      <a:gd name="connsiteX12" fmla="*/ 715663 w 1559250"/>
                      <a:gd name="connsiteY12" fmla="*/ 2203589 h 2350661"/>
                      <a:gd name="connsiteX13" fmla="*/ 0 w 1559250"/>
                      <a:gd name="connsiteY13" fmla="*/ 1552265 h 2350661"/>
                      <a:gd name="connsiteX14" fmla="*/ 147651 w 1559250"/>
                      <a:gd name="connsiteY14" fmla="*/ 1362027 h 2350661"/>
                      <a:gd name="connsiteX15" fmla="*/ 161940 w 1559250"/>
                      <a:gd name="connsiteY15" fmla="*/ 1264395 h 2350661"/>
                      <a:gd name="connsiteX16" fmla="*/ 180990 w 1559250"/>
                      <a:gd name="connsiteY16" fmla="*/ 1181052 h 2350661"/>
                      <a:gd name="connsiteX17" fmla="*/ 264333 w 1559250"/>
                      <a:gd name="connsiteY17" fmla="*/ 1076276 h 2350661"/>
                      <a:gd name="connsiteX18" fmla="*/ 395303 w 1559250"/>
                      <a:gd name="connsiteY18" fmla="*/ 950071 h 2350661"/>
                      <a:gd name="connsiteX19" fmla="*/ 461598 w 1559250"/>
                      <a:gd name="connsiteY19" fmla="*/ 771188 h 2350661"/>
                      <a:gd name="connsiteX20" fmla="*/ 498756 w 1559250"/>
                      <a:gd name="connsiteY20" fmla="*/ 653880 h 2350661"/>
                      <a:gd name="connsiteX21" fmla="*/ 577206 w 1559250"/>
                      <a:gd name="connsiteY21" fmla="*/ 463328 h 2350661"/>
                      <a:gd name="connsiteX22" fmla="*/ 611826 w 1559250"/>
                      <a:gd name="connsiteY22" fmla="*/ 340182 h 2350661"/>
                      <a:gd name="connsiteX23" fmla="*/ 620933 w 1559250"/>
                      <a:gd name="connsiteY23" fmla="*/ 215076 h 2350661"/>
                      <a:gd name="connsiteX24" fmla="*/ 704856 w 1559250"/>
                      <a:gd name="connsiteY24" fmla="*/ 0 h 2350661"/>
                      <a:gd name="connsiteX0" fmla="*/ 704856 w 1581768"/>
                      <a:gd name="connsiteY0" fmla="*/ 0 h 2350661"/>
                      <a:gd name="connsiteX1" fmla="*/ 1156622 w 1581768"/>
                      <a:gd name="connsiteY1" fmla="*/ 185973 h 2350661"/>
                      <a:gd name="connsiteX2" fmla="*/ 1559250 w 1581768"/>
                      <a:gd name="connsiteY2" fmla="*/ 357663 h 2350661"/>
                      <a:gd name="connsiteX3" fmla="*/ 1470961 w 1581768"/>
                      <a:gd name="connsiteY3" fmla="*/ 686380 h 2350661"/>
                      <a:gd name="connsiteX4" fmla="*/ 1395427 w 1581768"/>
                      <a:gd name="connsiteY4" fmla="*/ 914352 h 2350661"/>
                      <a:gd name="connsiteX5" fmla="*/ 1276233 w 1581768"/>
                      <a:gd name="connsiteY5" fmla="*/ 1185590 h 2350661"/>
                      <a:gd name="connsiteX6" fmla="*/ 969183 w 1581768"/>
                      <a:gd name="connsiteY6" fmla="*/ 1604914 h 2350661"/>
                      <a:gd name="connsiteX7" fmla="*/ 1581768 w 1581768"/>
                      <a:gd name="connsiteY7" fmla="*/ 2200642 h 2350661"/>
                      <a:gd name="connsiteX8" fmla="*/ 1357931 w 1581768"/>
                      <a:gd name="connsiteY8" fmla="*/ 2312560 h 2350661"/>
                      <a:gd name="connsiteX9" fmla="*/ 1193625 w 1581768"/>
                      <a:gd name="connsiteY9" fmla="*/ 2350661 h 2350661"/>
                      <a:gd name="connsiteX10" fmla="*/ 1031700 w 1581768"/>
                      <a:gd name="connsiteY10" fmla="*/ 2336373 h 2350661"/>
                      <a:gd name="connsiteX11" fmla="*/ 899330 w 1581768"/>
                      <a:gd name="connsiteY11" fmla="*/ 2306024 h 2350661"/>
                      <a:gd name="connsiteX12" fmla="*/ 715663 w 1581768"/>
                      <a:gd name="connsiteY12" fmla="*/ 2203589 h 2350661"/>
                      <a:gd name="connsiteX13" fmla="*/ 0 w 1581768"/>
                      <a:gd name="connsiteY13" fmla="*/ 1552265 h 2350661"/>
                      <a:gd name="connsiteX14" fmla="*/ 147651 w 1581768"/>
                      <a:gd name="connsiteY14" fmla="*/ 1362027 h 2350661"/>
                      <a:gd name="connsiteX15" fmla="*/ 161940 w 1581768"/>
                      <a:gd name="connsiteY15" fmla="*/ 1264395 h 2350661"/>
                      <a:gd name="connsiteX16" fmla="*/ 180990 w 1581768"/>
                      <a:gd name="connsiteY16" fmla="*/ 1181052 h 2350661"/>
                      <a:gd name="connsiteX17" fmla="*/ 264333 w 1581768"/>
                      <a:gd name="connsiteY17" fmla="*/ 1076276 h 2350661"/>
                      <a:gd name="connsiteX18" fmla="*/ 395303 w 1581768"/>
                      <a:gd name="connsiteY18" fmla="*/ 950071 h 2350661"/>
                      <a:gd name="connsiteX19" fmla="*/ 461598 w 1581768"/>
                      <a:gd name="connsiteY19" fmla="*/ 771188 h 2350661"/>
                      <a:gd name="connsiteX20" fmla="*/ 498756 w 1581768"/>
                      <a:gd name="connsiteY20" fmla="*/ 653880 h 2350661"/>
                      <a:gd name="connsiteX21" fmla="*/ 577206 w 1581768"/>
                      <a:gd name="connsiteY21" fmla="*/ 463328 h 2350661"/>
                      <a:gd name="connsiteX22" fmla="*/ 611826 w 1581768"/>
                      <a:gd name="connsiteY22" fmla="*/ 340182 h 2350661"/>
                      <a:gd name="connsiteX23" fmla="*/ 620933 w 1581768"/>
                      <a:gd name="connsiteY23" fmla="*/ 215076 h 2350661"/>
                      <a:gd name="connsiteX24" fmla="*/ 704856 w 1581768"/>
                      <a:gd name="connsiteY24" fmla="*/ 0 h 2350661"/>
                      <a:gd name="connsiteX0" fmla="*/ 704856 w 1581768"/>
                      <a:gd name="connsiteY0" fmla="*/ 0 h 2350661"/>
                      <a:gd name="connsiteX1" fmla="*/ 1156622 w 1581768"/>
                      <a:gd name="connsiteY1" fmla="*/ 185973 h 2350661"/>
                      <a:gd name="connsiteX2" fmla="*/ 1559250 w 1581768"/>
                      <a:gd name="connsiteY2" fmla="*/ 357663 h 2350661"/>
                      <a:gd name="connsiteX3" fmla="*/ 1470961 w 1581768"/>
                      <a:gd name="connsiteY3" fmla="*/ 686380 h 2350661"/>
                      <a:gd name="connsiteX4" fmla="*/ 1395427 w 1581768"/>
                      <a:gd name="connsiteY4" fmla="*/ 914352 h 2350661"/>
                      <a:gd name="connsiteX5" fmla="*/ 1276233 w 1581768"/>
                      <a:gd name="connsiteY5" fmla="*/ 1185590 h 2350661"/>
                      <a:gd name="connsiteX6" fmla="*/ 969183 w 1581768"/>
                      <a:gd name="connsiteY6" fmla="*/ 1604914 h 2350661"/>
                      <a:gd name="connsiteX7" fmla="*/ 1291256 w 1581768"/>
                      <a:gd name="connsiteY7" fmla="*/ 1924416 h 2350661"/>
                      <a:gd name="connsiteX8" fmla="*/ 1581768 w 1581768"/>
                      <a:gd name="connsiteY8" fmla="*/ 2200642 h 2350661"/>
                      <a:gd name="connsiteX9" fmla="*/ 1357931 w 1581768"/>
                      <a:gd name="connsiteY9" fmla="*/ 2312560 h 2350661"/>
                      <a:gd name="connsiteX10" fmla="*/ 1193625 w 1581768"/>
                      <a:gd name="connsiteY10" fmla="*/ 2350661 h 2350661"/>
                      <a:gd name="connsiteX11" fmla="*/ 1031700 w 1581768"/>
                      <a:gd name="connsiteY11" fmla="*/ 2336373 h 2350661"/>
                      <a:gd name="connsiteX12" fmla="*/ 899330 w 1581768"/>
                      <a:gd name="connsiteY12" fmla="*/ 2306024 h 2350661"/>
                      <a:gd name="connsiteX13" fmla="*/ 715663 w 1581768"/>
                      <a:gd name="connsiteY13" fmla="*/ 2203589 h 2350661"/>
                      <a:gd name="connsiteX14" fmla="*/ 0 w 1581768"/>
                      <a:gd name="connsiteY14" fmla="*/ 1552265 h 2350661"/>
                      <a:gd name="connsiteX15" fmla="*/ 147651 w 1581768"/>
                      <a:gd name="connsiteY15" fmla="*/ 1362027 h 2350661"/>
                      <a:gd name="connsiteX16" fmla="*/ 161940 w 1581768"/>
                      <a:gd name="connsiteY16" fmla="*/ 1264395 h 2350661"/>
                      <a:gd name="connsiteX17" fmla="*/ 180990 w 1581768"/>
                      <a:gd name="connsiteY17" fmla="*/ 1181052 h 2350661"/>
                      <a:gd name="connsiteX18" fmla="*/ 264333 w 1581768"/>
                      <a:gd name="connsiteY18" fmla="*/ 1076276 h 2350661"/>
                      <a:gd name="connsiteX19" fmla="*/ 395303 w 1581768"/>
                      <a:gd name="connsiteY19" fmla="*/ 950071 h 2350661"/>
                      <a:gd name="connsiteX20" fmla="*/ 461598 w 1581768"/>
                      <a:gd name="connsiteY20" fmla="*/ 771188 h 2350661"/>
                      <a:gd name="connsiteX21" fmla="*/ 498756 w 1581768"/>
                      <a:gd name="connsiteY21" fmla="*/ 653880 h 2350661"/>
                      <a:gd name="connsiteX22" fmla="*/ 577206 w 1581768"/>
                      <a:gd name="connsiteY22" fmla="*/ 463328 h 2350661"/>
                      <a:gd name="connsiteX23" fmla="*/ 611826 w 1581768"/>
                      <a:gd name="connsiteY23" fmla="*/ 340182 h 2350661"/>
                      <a:gd name="connsiteX24" fmla="*/ 620933 w 1581768"/>
                      <a:gd name="connsiteY24" fmla="*/ 215076 h 2350661"/>
                      <a:gd name="connsiteX25" fmla="*/ 704856 w 1581768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1559250 w 1722262"/>
                      <a:gd name="connsiteY2" fmla="*/ 357663 h 2350661"/>
                      <a:gd name="connsiteX3" fmla="*/ 1470961 w 1722262"/>
                      <a:gd name="connsiteY3" fmla="*/ 686380 h 2350661"/>
                      <a:gd name="connsiteX4" fmla="*/ 1395427 w 1722262"/>
                      <a:gd name="connsiteY4" fmla="*/ 914352 h 2350661"/>
                      <a:gd name="connsiteX5" fmla="*/ 1276233 w 1722262"/>
                      <a:gd name="connsiteY5" fmla="*/ 1185590 h 2350661"/>
                      <a:gd name="connsiteX6" fmla="*/ 969183 w 1722262"/>
                      <a:gd name="connsiteY6" fmla="*/ 1604914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1559250 w 1722262"/>
                      <a:gd name="connsiteY2" fmla="*/ 357663 h 2350661"/>
                      <a:gd name="connsiteX3" fmla="*/ 1470961 w 1722262"/>
                      <a:gd name="connsiteY3" fmla="*/ 686380 h 2350661"/>
                      <a:gd name="connsiteX4" fmla="*/ 1395427 w 1722262"/>
                      <a:gd name="connsiteY4" fmla="*/ 914352 h 2350661"/>
                      <a:gd name="connsiteX5" fmla="*/ 1276233 w 1722262"/>
                      <a:gd name="connsiteY5" fmla="*/ 1185590 h 2350661"/>
                      <a:gd name="connsiteX6" fmla="*/ 1693083 w 1722262"/>
                      <a:gd name="connsiteY6" fmla="*/ 1969246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1559250 w 1722262"/>
                      <a:gd name="connsiteY2" fmla="*/ 357663 h 2350661"/>
                      <a:gd name="connsiteX3" fmla="*/ 1470961 w 1722262"/>
                      <a:gd name="connsiteY3" fmla="*/ 686380 h 2350661"/>
                      <a:gd name="connsiteX4" fmla="*/ 1395427 w 1722262"/>
                      <a:gd name="connsiteY4" fmla="*/ 914352 h 2350661"/>
                      <a:gd name="connsiteX5" fmla="*/ 1209558 w 1722262"/>
                      <a:gd name="connsiteY5" fmla="*/ 1673746 h 2350661"/>
                      <a:gd name="connsiteX6" fmla="*/ 1693083 w 1722262"/>
                      <a:gd name="connsiteY6" fmla="*/ 1969246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1559250 w 1722262"/>
                      <a:gd name="connsiteY2" fmla="*/ 357663 h 2350661"/>
                      <a:gd name="connsiteX3" fmla="*/ 1470961 w 1722262"/>
                      <a:gd name="connsiteY3" fmla="*/ 686380 h 2350661"/>
                      <a:gd name="connsiteX4" fmla="*/ 1035858 w 1722262"/>
                      <a:gd name="connsiteY4" fmla="*/ 1328690 h 2350661"/>
                      <a:gd name="connsiteX5" fmla="*/ 1209558 w 1722262"/>
                      <a:gd name="connsiteY5" fmla="*/ 1673746 h 2350661"/>
                      <a:gd name="connsiteX6" fmla="*/ 1693083 w 1722262"/>
                      <a:gd name="connsiteY6" fmla="*/ 1969246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1559250 w 1722262"/>
                      <a:gd name="connsiteY2" fmla="*/ 357663 h 2350661"/>
                      <a:gd name="connsiteX3" fmla="*/ 773254 w 1722262"/>
                      <a:gd name="connsiteY3" fmla="*/ 1145961 h 2350661"/>
                      <a:gd name="connsiteX4" fmla="*/ 1035858 w 1722262"/>
                      <a:gd name="connsiteY4" fmla="*/ 1328690 h 2350661"/>
                      <a:gd name="connsiteX5" fmla="*/ 1209558 w 1722262"/>
                      <a:gd name="connsiteY5" fmla="*/ 1673746 h 2350661"/>
                      <a:gd name="connsiteX6" fmla="*/ 1693083 w 1722262"/>
                      <a:gd name="connsiteY6" fmla="*/ 1969246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1156622 w 1722262"/>
                      <a:gd name="connsiteY1" fmla="*/ 185973 h 2350661"/>
                      <a:gd name="connsiteX2" fmla="*/ 551981 w 1722262"/>
                      <a:gd name="connsiteY2" fmla="*/ 852963 h 2350661"/>
                      <a:gd name="connsiteX3" fmla="*/ 773254 w 1722262"/>
                      <a:gd name="connsiteY3" fmla="*/ 1145961 h 2350661"/>
                      <a:gd name="connsiteX4" fmla="*/ 1035858 w 1722262"/>
                      <a:gd name="connsiteY4" fmla="*/ 1328690 h 2350661"/>
                      <a:gd name="connsiteX5" fmla="*/ 1209558 w 1722262"/>
                      <a:gd name="connsiteY5" fmla="*/ 1673746 h 2350661"/>
                      <a:gd name="connsiteX6" fmla="*/ 1693083 w 1722262"/>
                      <a:gd name="connsiteY6" fmla="*/ 1969246 h 2350661"/>
                      <a:gd name="connsiteX7" fmla="*/ 1722262 w 1722262"/>
                      <a:gd name="connsiteY7" fmla="*/ 2155397 h 2350661"/>
                      <a:gd name="connsiteX8" fmla="*/ 1581768 w 1722262"/>
                      <a:gd name="connsiteY8" fmla="*/ 2200642 h 2350661"/>
                      <a:gd name="connsiteX9" fmla="*/ 1357931 w 1722262"/>
                      <a:gd name="connsiteY9" fmla="*/ 2312560 h 2350661"/>
                      <a:gd name="connsiteX10" fmla="*/ 1193625 w 1722262"/>
                      <a:gd name="connsiteY10" fmla="*/ 2350661 h 2350661"/>
                      <a:gd name="connsiteX11" fmla="*/ 1031700 w 1722262"/>
                      <a:gd name="connsiteY11" fmla="*/ 2336373 h 2350661"/>
                      <a:gd name="connsiteX12" fmla="*/ 899330 w 1722262"/>
                      <a:gd name="connsiteY12" fmla="*/ 2306024 h 2350661"/>
                      <a:gd name="connsiteX13" fmla="*/ 715663 w 1722262"/>
                      <a:gd name="connsiteY13" fmla="*/ 2203589 h 2350661"/>
                      <a:gd name="connsiteX14" fmla="*/ 0 w 1722262"/>
                      <a:gd name="connsiteY14" fmla="*/ 1552265 h 2350661"/>
                      <a:gd name="connsiteX15" fmla="*/ 147651 w 1722262"/>
                      <a:gd name="connsiteY15" fmla="*/ 1362027 h 2350661"/>
                      <a:gd name="connsiteX16" fmla="*/ 161940 w 1722262"/>
                      <a:gd name="connsiteY16" fmla="*/ 1264395 h 2350661"/>
                      <a:gd name="connsiteX17" fmla="*/ 180990 w 1722262"/>
                      <a:gd name="connsiteY17" fmla="*/ 1181052 h 2350661"/>
                      <a:gd name="connsiteX18" fmla="*/ 264333 w 1722262"/>
                      <a:gd name="connsiteY18" fmla="*/ 1076276 h 2350661"/>
                      <a:gd name="connsiteX19" fmla="*/ 395303 w 1722262"/>
                      <a:gd name="connsiteY19" fmla="*/ 950071 h 2350661"/>
                      <a:gd name="connsiteX20" fmla="*/ 461598 w 1722262"/>
                      <a:gd name="connsiteY20" fmla="*/ 771188 h 2350661"/>
                      <a:gd name="connsiteX21" fmla="*/ 498756 w 1722262"/>
                      <a:gd name="connsiteY21" fmla="*/ 653880 h 2350661"/>
                      <a:gd name="connsiteX22" fmla="*/ 577206 w 1722262"/>
                      <a:gd name="connsiteY22" fmla="*/ 463328 h 2350661"/>
                      <a:gd name="connsiteX23" fmla="*/ 611826 w 1722262"/>
                      <a:gd name="connsiteY23" fmla="*/ 340182 h 2350661"/>
                      <a:gd name="connsiteX24" fmla="*/ 620933 w 1722262"/>
                      <a:gd name="connsiteY24" fmla="*/ 215076 h 2350661"/>
                      <a:gd name="connsiteX25" fmla="*/ 704856 w 1722262"/>
                      <a:gd name="connsiteY25" fmla="*/ 0 h 2350661"/>
                      <a:gd name="connsiteX0" fmla="*/ 704856 w 1722262"/>
                      <a:gd name="connsiteY0" fmla="*/ 0 h 2350661"/>
                      <a:gd name="connsiteX1" fmla="*/ 551981 w 1722262"/>
                      <a:gd name="connsiteY1" fmla="*/ 852963 h 2350661"/>
                      <a:gd name="connsiteX2" fmla="*/ 773254 w 1722262"/>
                      <a:gd name="connsiteY2" fmla="*/ 1145961 h 2350661"/>
                      <a:gd name="connsiteX3" fmla="*/ 1035858 w 1722262"/>
                      <a:gd name="connsiteY3" fmla="*/ 1328690 h 2350661"/>
                      <a:gd name="connsiteX4" fmla="*/ 1209558 w 1722262"/>
                      <a:gd name="connsiteY4" fmla="*/ 1673746 h 2350661"/>
                      <a:gd name="connsiteX5" fmla="*/ 1693083 w 1722262"/>
                      <a:gd name="connsiteY5" fmla="*/ 1969246 h 2350661"/>
                      <a:gd name="connsiteX6" fmla="*/ 1722262 w 1722262"/>
                      <a:gd name="connsiteY6" fmla="*/ 2155397 h 2350661"/>
                      <a:gd name="connsiteX7" fmla="*/ 1581768 w 1722262"/>
                      <a:gd name="connsiteY7" fmla="*/ 2200642 h 2350661"/>
                      <a:gd name="connsiteX8" fmla="*/ 1357931 w 1722262"/>
                      <a:gd name="connsiteY8" fmla="*/ 2312560 h 2350661"/>
                      <a:gd name="connsiteX9" fmla="*/ 1193625 w 1722262"/>
                      <a:gd name="connsiteY9" fmla="*/ 2350661 h 2350661"/>
                      <a:gd name="connsiteX10" fmla="*/ 1031700 w 1722262"/>
                      <a:gd name="connsiteY10" fmla="*/ 2336373 h 2350661"/>
                      <a:gd name="connsiteX11" fmla="*/ 899330 w 1722262"/>
                      <a:gd name="connsiteY11" fmla="*/ 2306024 h 2350661"/>
                      <a:gd name="connsiteX12" fmla="*/ 715663 w 1722262"/>
                      <a:gd name="connsiteY12" fmla="*/ 2203589 h 2350661"/>
                      <a:gd name="connsiteX13" fmla="*/ 0 w 1722262"/>
                      <a:gd name="connsiteY13" fmla="*/ 1552265 h 2350661"/>
                      <a:gd name="connsiteX14" fmla="*/ 147651 w 1722262"/>
                      <a:gd name="connsiteY14" fmla="*/ 1362027 h 2350661"/>
                      <a:gd name="connsiteX15" fmla="*/ 161940 w 1722262"/>
                      <a:gd name="connsiteY15" fmla="*/ 1264395 h 2350661"/>
                      <a:gd name="connsiteX16" fmla="*/ 180990 w 1722262"/>
                      <a:gd name="connsiteY16" fmla="*/ 1181052 h 2350661"/>
                      <a:gd name="connsiteX17" fmla="*/ 264333 w 1722262"/>
                      <a:gd name="connsiteY17" fmla="*/ 1076276 h 2350661"/>
                      <a:gd name="connsiteX18" fmla="*/ 395303 w 1722262"/>
                      <a:gd name="connsiteY18" fmla="*/ 950071 h 2350661"/>
                      <a:gd name="connsiteX19" fmla="*/ 461598 w 1722262"/>
                      <a:gd name="connsiteY19" fmla="*/ 771188 h 2350661"/>
                      <a:gd name="connsiteX20" fmla="*/ 498756 w 1722262"/>
                      <a:gd name="connsiteY20" fmla="*/ 653880 h 2350661"/>
                      <a:gd name="connsiteX21" fmla="*/ 577206 w 1722262"/>
                      <a:gd name="connsiteY21" fmla="*/ 463328 h 2350661"/>
                      <a:gd name="connsiteX22" fmla="*/ 611826 w 1722262"/>
                      <a:gd name="connsiteY22" fmla="*/ 340182 h 2350661"/>
                      <a:gd name="connsiteX23" fmla="*/ 620933 w 1722262"/>
                      <a:gd name="connsiteY23" fmla="*/ 215076 h 2350661"/>
                      <a:gd name="connsiteX24" fmla="*/ 704856 w 1722262"/>
                      <a:gd name="connsiteY24" fmla="*/ 0 h 2350661"/>
                      <a:gd name="connsiteX0" fmla="*/ 620933 w 1722262"/>
                      <a:gd name="connsiteY0" fmla="*/ 0 h 2135585"/>
                      <a:gd name="connsiteX1" fmla="*/ 551981 w 1722262"/>
                      <a:gd name="connsiteY1" fmla="*/ 637887 h 2135585"/>
                      <a:gd name="connsiteX2" fmla="*/ 773254 w 1722262"/>
                      <a:gd name="connsiteY2" fmla="*/ 930885 h 2135585"/>
                      <a:gd name="connsiteX3" fmla="*/ 1035858 w 1722262"/>
                      <a:gd name="connsiteY3" fmla="*/ 1113614 h 2135585"/>
                      <a:gd name="connsiteX4" fmla="*/ 1209558 w 1722262"/>
                      <a:gd name="connsiteY4" fmla="*/ 1458670 h 2135585"/>
                      <a:gd name="connsiteX5" fmla="*/ 1693083 w 1722262"/>
                      <a:gd name="connsiteY5" fmla="*/ 1754170 h 2135585"/>
                      <a:gd name="connsiteX6" fmla="*/ 1722262 w 1722262"/>
                      <a:gd name="connsiteY6" fmla="*/ 1940321 h 2135585"/>
                      <a:gd name="connsiteX7" fmla="*/ 1581768 w 1722262"/>
                      <a:gd name="connsiteY7" fmla="*/ 1985566 h 2135585"/>
                      <a:gd name="connsiteX8" fmla="*/ 1357931 w 1722262"/>
                      <a:gd name="connsiteY8" fmla="*/ 2097484 h 2135585"/>
                      <a:gd name="connsiteX9" fmla="*/ 1193625 w 1722262"/>
                      <a:gd name="connsiteY9" fmla="*/ 2135585 h 2135585"/>
                      <a:gd name="connsiteX10" fmla="*/ 1031700 w 1722262"/>
                      <a:gd name="connsiteY10" fmla="*/ 2121297 h 2135585"/>
                      <a:gd name="connsiteX11" fmla="*/ 899330 w 1722262"/>
                      <a:gd name="connsiteY11" fmla="*/ 2090948 h 2135585"/>
                      <a:gd name="connsiteX12" fmla="*/ 715663 w 1722262"/>
                      <a:gd name="connsiteY12" fmla="*/ 1988513 h 2135585"/>
                      <a:gd name="connsiteX13" fmla="*/ 0 w 1722262"/>
                      <a:gd name="connsiteY13" fmla="*/ 1337189 h 2135585"/>
                      <a:gd name="connsiteX14" fmla="*/ 147651 w 1722262"/>
                      <a:gd name="connsiteY14" fmla="*/ 1146951 h 2135585"/>
                      <a:gd name="connsiteX15" fmla="*/ 161940 w 1722262"/>
                      <a:gd name="connsiteY15" fmla="*/ 1049319 h 2135585"/>
                      <a:gd name="connsiteX16" fmla="*/ 180990 w 1722262"/>
                      <a:gd name="connsiteY16" fmla="*/ 965976 h 2135585"/>
                      <a:gd name="connsiteX17" fmla="*/ 264333 w 1722262"/>
                      <a:gd name="connsiteY17" fmla="*/ 861200 h 2135585"/>
                      <a:gd name="connsiteX18" fmla="*/ 395303 w 1722262"/>
                      <a:gd name="connsiteY18" fmla="*/ 734995 h 2135585"/>
                      <a:gd name="connsiteX19" fmla="*/ 461598 w 1722262"/>
                      <a:gd name="connsiteY19" fmla="*/ 556112 h 2135585"/>
                      <a:gd name="connsiteX20" fmla="*/ 498756 w 1722262"/>
                      <a:gd name="connsiteY20" fmla="*/ 438804 h 2135585"/>
                      <a:gd name="connsiteX21" fmla="*/ 577206 w 1722262"/>
                      <a:gd name="connsiteY21" fmla="*/ 248252 h 2135585"/>
                      <a:gd name="connsiteX22" fmla="*/ 611826 w 1722262"/>
                      <a:gd name="connsiteY22" fmla="*/ 125106 h 2135585"/>
                      <a:gd name="connsiteX23" fmla="*/ 620933 w 1722262"/>
                      <a:gd name="connsiteY23" fmla="*/ 0 h 2135585"/>
                      <a:gd name="connsiteX0" fmla="*/ 611826 w 1722262"/>
                      <a:gd name="connsiteY0" fmla="*/ 0 h 2010479"/>
                      <a:gd name="connsiteX1" fmla="*/ 551981 w 1722262"/>
                      <a:gd name="connsiteY1" fmla="*/ 512781 h 2010479"/>
                      <a:gd name="connsiteX2" fmla="*/ 773254 w 1722262"/>
                      <a:gd name="connsiteY2" fmla="*/ 805779 h 2010479"/>
                      <a:gd name="connsiteX3" fmla="*/ 1035858 w 1722262"/>
                      <a:gd name="connsiteY3" fmla="*/ 988508 h 2010479"/>
                      <a:gd name="connsiteX4" fmla="*/ 1209558 w 1722262"/>
                      <a:gd name="connsiteY4" fmla="*/ 1333564 h 2010479"/>
                      <a:gd name="connsiteX5" fmla="*/ 1693083 w 1722262"/>
                      <a:gd name="connsiteY5" fmla="*/ 1629064 h 2010479"/>
                      <a:gd name="connsiteX6" fmla="*/ 1722262 w 1722262"/>
                      <a:gd name="connsiteY6" fmla="*/ 1815215 h 2010479"/>
                      <a:gd name="connsiteX7" fmla="*/ 1581768 w 1722262"/>
                      <a:gd name="connsiteY7" fmla="*/ 1860460 h 2010479"/>
                      <a:gd name="connsiteX8" fmla="*/ 1357931 w 1722262"/>
                      <a:gd name="connsiteY8" fmla="*/ 1972378 h 2010479"/>
                      <a:gd name="connsiteX9" fmla="*/ 1193625 w 1722262"/>
                      <a:gd name="connsiteY9" fmla="*/ 2010479 h 2010479"/>
                      <a:gd name="connsiteX10" fmla="*/ 1031700 w 1722262"/>
                      <a:gd name="connsiteY10" fmla="*/ 1996191 h 2010479"/>
                      <a:gd name="connsiteX11" fmla="*/ 899330 w 1722262"/>
                      <a:gd name="connsiteY11" fmla="*/ 1965842 h 2010479"/>
                      <a:gd name="connsiteX12" fmla="*/ 715663 w 1722262"/>
                      <a:gd name="connsiteY12" fmla="*/ 1863407 h 2010479"/>
                      <a:gd name="connsiteX13" fmla="*/ 0 w 1722262"/>
                      <a:gd name="connsiteY13" fmla="*/ 1212083 h 2010479"/>
                      <a:gd name="connsiteX14" fmla="*/ 147651 w 1722262"/>
                      <a:gd name="connsiteY14" fmla="*/ 1021845 h 2010479"/>
                      <a:gd name="connsiteX15" fmla="*/ 161940 w 1722262"/>
                      <a:gd name="connsiteY15" fmla="*/ 924213 h 2010479"/>
                      <a:gd name="connsiteX16" fmla="*/ 180990 w 1722262"/>
                      <a:gd name="connsiteY16" fmla="*/ 840870 h 2010479"/>
                      <a:gd name="connsiteX17" fmla="*/ 264333 w 1722262"/>
                      <a:gd name="connsiteY17" fmla="*/ 736094 h 2010479"/>
                      <a:gd name="connsiteX18" fmla="*/ 395303 w 1722262"/>
                      <a:gd name="connsiteY18" fmla="*/ 609889 h 2010479"/>
                      <a:gd name="connsiteX19" fmla="*/ 461598 w 1722262"/>
                      <a:gd name="connsiteY19" fmla="*/ 431006 h 2010479"/>
                      <a:gd name="connsiteX20" fmla="*/ 498756 w 1722262"/>
                      <a:gd name="connsiteY20" fmla="*/ 313698 h 2010479"/>
                      <a:gd name="connsiteX21" fmla="*/ 577206 w 1722262"/>
                      <a:gd name="connsiteY21" fmla="*/ 123146 h 2010479"/>
                      <a:gd name="connsiteX22" fmla="*/ 611826 w 1722262"/>
                      <a:gd name="connsiteY22" fmla="*/ 0 h 2010479"/>
                      <a:gd name="connsiteX0" fmla="*/ 577206 w 1722262"/>
                      <a:gd name="connsiteY0" fmla="*/ 0 h 1887333"/>
                      <a:gd name="connsiteX1" fmla="*/ 551981 w 1722262"/>
                      <a:gd name="connsiteY1" fmla="*/ 389635 h 1887333"/>
                      <a:gd name="connsiteX2" fmla="*/ 773254 w 1722262"/>
                      <a:gd name="connsiteY2" fmla="*/ 682633 h 1887333"/>
                      <a:gd name="connsiteX3" fmla="*/ 1035858 w 1722262"/>
                      <a:gd name="connsiteY3" fmla="*/ 865362 h 1887333"/>
                      <a:gd name="connsiteX4" fmla="*/ 1209558 w 1722262"/>
                      <a:gd name="connsiteY4" fmla="*/ 1210418 h 1887333"/>
                      <a:gd name="connsiteX5" fmla="*/ 1693083 w 1722262"/>
                      <a:gd name="connsiteY5" fmla="*/ 1505918 h 1887333"/>
                      <a:gd name="connsiteX6" fmla="*/ 1722262 w 1722262"/>
                      <a:gd name="connsiteY6" fmla="*/ 1692069 h 1887333"/>
                      <a:gd name="connsiteX7" fmla="*/ 1581768 w 1722262"/>
                      <a:gd name="connsiteY7" fmla="*/ 1737314 h 1887333"/>
                      <a:gd name="connsiteX8" fmla="*/ 1357931 w 1722262"/>
                      <a:gd name="connsiteY8" fmla="*/ 1849232 h 1887333"/>
                      <a:gd name="connsiteX9" fmla="*/ 1193625 w 1722262"/>
                      <a:gd name="connsiteY9" fmla="*/ 1887333 h 1887333"/>
                      <a:gd name="connsiteX10" fmla="*/ 1031700 w 1722262"/>
                      <a:gd name="connsiteY10" fmla="*/ 1873045 h 1887333"/>
                      <a:gd name="connsiteX11" fmla="*/ 899330 w 1722262"/>
                      <a:gd name="connsiteY11" fmla="*/ 1842696 h 1887333"/>
                      <a:gd name="connsiteX12" fmla="*/ 715663 w 1722262"/>
                      <a:gd name="connsiteY12" fmla="*/ 1740261 h 1887333"/>
                      <a:gd name="connsiteX13" fmla="*/ 0 w 1722262"/>
                      <a:gd name="connsiteY13" fmla="*/ 1088937 h 1887333"/>
                      <a:gd name="connsiteX14" fmla="*/ 147651 w 1722262"/>
                      <a:gd name="connsiteY14" fmla="*/ 898699 h 1887333"/>
                      <a:gd name="connsiteX15" fmla="*/ 161940 w 1722262"/>
                      <a:gd name="connsiteY15" fmla="*/ 801067 h 1887333"/>
                      <a:gd name="connsiteX16" fmla="*/ 180990 w 1722262"/>
                      <a:gd name="connsiteY16" fmla="*/ 717724 h 1887333"/>
                      <a:gd name="connsiteX17" fmla="*/ 264333 w 1722262"/>
                      <a:gd name="connsiteY17" fmla="*/ 612948 h 1887333"/>
                      <a:gd name="connsiteX18" fmla="*/ 395303 w 1722262"/>
                      <a:gd name="connsiteY18" fmla="*/ 486743 h 1887333"/>
                      <a:gd name="connsiteX19" fmla="*/ 461598 w 1722262"/>
                      <a:gd name="connsiteY19" fmla="*/ 307860 h 1887333"/>
                      <a:gd name="connsiteX20" fmla="*/ 498756 w 1722262"/>
                      <a:gd name="connsiteY20" fmla="*/ 190552 h 1887333"/>
                      <a:gd name="connsiteX21" fmla="*/ 577206 w 1722262"/>
                      <a:gd name="connsiteY21" fmla="*/ 0 h 1887333"/>
                      <a:gd name="connsiteX0" fmla="*/ 498756 w 1722262"/>
                      <a:gd name="connsiteY0" fmla="*/ 0 h 1696781"/>
                      <a:gd name="connsiteX1" fmla="*/ 551981 w 1722262"/>
                      <a:gd name="connsiteY1" fmla="*/ 199083 h 1696781"/>
                      <a:gd name="connsiteX2" fmla="*/ 773254 w 1722262"/>
                      <a:gd name="connsiteY2" fmla="*/ 492081 h 1696781"/>
                      <a:gd name="connsiteX3" fmla="*/ 1035858 w 1722262"/>
                      <a:gd name="connsiteY3" fmla="*/ 674810 h 1696781"/>
                      <a:gd name="connsiteX4" fmla="*/ 1209558 w 1722262"/>
                      <a:gd name="connsiteY4" fmla="*/ 1019866 h 1696781"/>
                      <a:gd name="connsiteX5" fmla="*/ 1693083 w 1722262"/>
                      <a:gd name="connsiteY5" fmla="*/ 1315366 h 1696781"/>
                      <a:gd name="connsiteX6" fmla="*/ 1722262 w 1722262"/>
                      <a:gd name="connsiteY6" fmla="*/ 1501517 h 1696781"/>
                      <a:gd name="connsiteX7" fmla="*/ 1581768 w 1722262"/>
                      <a:gd name="connsiteY7" fmla="*/ 1546762 h 1696781"/>
                      <a:gd name="connsiteX8" fmla="*/ 1357931 w 1722262"/>
                      <a:gd name="connsiteY8" fmla="*/ 1658680 h 1696781"/>
                      <a:gd name="connsiteX9" fmla="*/ 1193625 w 1722262"/>
                      <a:gd name="connsiteY9" fmla="*/ 1696781 h 1696781"/>
                      <a:gd name="connsiteX10" fmla="*/ 1031700 w 1722262"/>
                      <a:gd name="connsiteY10" fmla="*/ 1682493 h 1696781"/>
                      <a:gd name="connsiteX11" fmla="*/ 899330 w 1722262"/>
                      <a:gd name="connsiteY11" fmla="*/ 1652144 h 1696781"/>
                      <a:gd name="connsiteX12" fmla="*/ 715663 w 1722262"/>
                      <a:gd name="connsiteY12" fmla="*/ 1549709 h 1696781"/>
                      <a:gd name="connsiteX13" fmla="*/ 0 w 1722262"/>
                      <a:gd name="connsiteY13" fmla="*/ 898385 h 1696781"/>
                      <a:gd name="connsiteX14" fmla="*/ 147651 w 1722262"/>
                      <a:gd name="connsiteY14" fmla="*/ 708147 h 1696781"/>
                      <a:gd name="connsiteX15" fmla="*/ 161940 w 1722262"/>
                      <a:gd name="connsiteY15" fmla="*/ 610515 h 1696781"/>
                      <a:gd name="connsiteX16" fmla="*/ 180990 w 1722262"/>
                      <a:gd name="connsiteY16" fmla="*/ 527172 h 1696781"/>
                      <a:gd name="connsiteX17" fmla="*/ 264333 w 1722262"/>
                      <a:gd name="connsiteY17" fmla="*/ 422396 h 1696781"/>
                      <a:gd name="connsiteX18" fmla="*/ 395303 w 1722262"/>
                      <a:gd name="connsiteY18" fmla="*/ 296191 h 1696781"/>
                      <a:gd name="connsiteX19" fmla="*/ 461598 w 1722262"/>
                      <a:gd name="connsiteY19" fmla="*/ 117308 h 1696781"/>
                      <a:gd name="connsiteX20" fmla="*/ 498756 w 1722262"/>
                      <a:gd name="connsiteY20" fmla="*/ 0 h 1696781"/>
                      <a:gd name="connsiteX0" fmla="*/ 461598 w 1722262"/>
                      <a:gd name="connsiteY0" fmla="*/ 0 h 1579473"/>
                      <a:gd name="connsiteX1" fmla="*/ 551981 w 1722262"/>
                      <a:gd name="connsiteY1" fmla="*/ 81775 h 1579473"/>
                      <a:gd name="connsiteX2" fmla="*/ 773254 w 1722262"/>
                      <a:gd name="connsiteY2" fmla="*/ 374773 h 1579473"/>
                      <a:gd name="connsiteX3" fmla="*/ 1035858 w 1722262"/>
                      <a:gd name="connsiteY3" fmla="*/ 557502 h 1579473"/>
                      <a:gd name="connsiteX4" fmla="*/ 1209558 w 1722262"/>
                      <a:gd name="connsiteY4" fmla="*/ 902558 h 1579473"/>
                      <a:gd name="connsiteX5" fmla="*/ 1693083 w 1722262"/>
                      <a:gd name="connsiteY5" fmla="*/ 1198058 h 1579473"/>
                      <a:gd name="connsiteX6" fmla="*/ 1722262 w 1722262"/>
                      <a:gd name="connsiteY6" fmla="*/ 1384209 h 1579473"/>
                      <a:gd name="connsiteX7" fmla="*/ 1581768 w 1722262"/>
                      <a:gd name="connsiteY7" fmla="*/ 1429454 h 1579473"/>
                      <a:gd name="connsiteX8" fmla="*/ 1357931 w 1722262"/>
                      <a:gd name="connsiteY8" fmla="*/ 1541372 h 1579473"/>
                      <a:gd name="connsiteX9" fmla="*/ 1193625 w 1722262"/>
                      <a:gd name="connsiteY9" fmla="*/ 1579473 h 1579473"/>
                      <a:gd name="connsiteX10" fmla="*/ 1031700 w 1722262"/>
                      <a:gd name="connsiteY10" fmla="*/ 1565185 h 1579473"/>
                      <a:gd name="connsiteX11" fmla="*/ 899330 w 1722262"/>
                      <a:gd name="connsiteY11" fmla="*/ 1534836 h 1579473"/>
                      <a:gd name="connsiteX12" fmla="*/ 715663 w 1722262"/>
                      <a:gd name="connsiteY12" fmla="*/ 1432401 h 1579473"/>
                      <a:gd name="connsiteX13" fmla="*/ 0 w 1722262"/>
                      <a:gd name="connsiteY13" fmla="*/ 781077 h 1579473"/>
                      <a:gd name="connsiteX14" fmla="*/ 147651 w 1722262"/>
                      <a:gd name="connsiteY14" fmla="*/ 590839 h 1579473"/>
                      <a:gd name="connsiteX15" fmla="*/ 161940 w 1722262"/>
                      <a:gd name="connsiteY15" fmla="*/ 493207 h 1579473"/>
                      <a:gd name="connsiteX16" fmla="*/ 180990 w 1722262"/>
                      <a:gd name="connsiteY16" fmla="*/ 409864 h 1579473"/>
                      <a:gd name="connsiteX17" fmla="*/ 264333 w 1722262"/>
                      <a:gd name="connsiteY17" fmla="*/ 305088 h 1579473"/>
                      <a:gd name="connsiteX18" fmla="*/ 395303 w 1722262"/>
                      <a:gd name="connsiteY18" fmla="*/ 178883 h 1579473"/>
                      <a:gd name="connsiteX19" fmla="*/ 461598 w 1722262"/>
                      <a:gd name="connsiteY19" fmla="*/ 0 h 1579473"/>
                      <a:gd name="connsiteX0" fmla="*/ 461598 w 1722262"/>
                      <a:gd name="connsiteY0" fmla="*/ 0 h 1579473"/>
                      <a:gd name="connsiteX1" fmla="*/ 551981 w 1722262"/>
                      <a:gd name="connsiteY1" fmla="*/ 62725 h 1579473"/>
                      <a:gd name="connsiteX2" fmla="*/ 773254 w 1722262"/>
                      <a:gd name="connsiteY2" fmla="*/ 374773 h 1579473"/>
                      <a:gd name="connsiteX3" fmla="*/ 1035858 w 1722262"/>
                      <a:gd name="connsiteY3" fmla="*/ 557502 h 1579473"/>
                      <a:gd name="connsiteX4" fmla="*/ 1209558 w 1722262"/>
                      <a:gd name="connsiteY4" fmla="*/ 902558 h 1579473"/>
                      <a:gd name="connsiteX5" fmla="*/ 1693083 w 1722262"/>
                      <a:gd name="connsiteY5" fmla="*/ 1198058 h 1579473"/>
                      <a:gd name="connsiteX6" fmla="*/ 1722262 w 1722262"/>
                      <a:gd name="connsiteY6" fmla="*/ 1384209 h 1579473"/>
                      <a:gd name="connsiteX7" fmla="*/ 1581768 w 1722262"/>
                      <a:gd name="connsiteY7" fmla="*/ 1429454 h 1579473"/>
                      <a:gd name="connsiteX8" fmla="*/ 1357931 w 1722262"/>
                      <a:gd name="connsiteY8" fmla="*/ 1541372 h 1579473"/>
                      <a:gd name="connsiteX9" fmla="*/ 1193625 w 1722262"/>
                      <a:gd name="connsiteY9" fmla="*/ 1579473 h 1579473"/>
                      <a:gd name="connsiteX10" fmla="*/ 1031700 w 1722262"/>
                      <a:gd name="connsiteY10" fmla="*/ 1565185 h 1579473"/>
                      <a:gd name="connsiteX11" fmla="*/ 899330 w 1722262"/>
                      <a:gd name="connsiteY11" fmla="*/ 1534836 h 1579473"/>
                      <a:gd name="connsiteX12" fmla="*/ 715663 w 1722262"/>
                      <a:gd name="connsiteY12" fmla="*/ 1432401 h 1579473"/>
                      <a:gd name="connsiteX13" fmla="*/ 0 w 1722262"/>
                      <a:gd name="connsiteY13" fmla="*/ 781077 h 1579473"/>
                      <a:gd name="connsiteX14" fmla="*/ 147651 w 1722262"/>
                      <a:gd name="connsiteY14" fmla="*/ 590839 h 1579473"/>
                      <a:gd name="connsiteX15" fmla="*/ 161940 w 1722262"/>
                      <a:gd name="connsiteY15" fmla="*/ 493207 h 1579473"/>
                      <a:gd name="connsiteX16" fmla="*/ 180990 w 1722262"/>
                      <a:gd name="connsiteY16" fmla="*/ 409864 h 1579473"/>
                      <a:gd name="connsiteX17" fmla="*/ 264333 w 1722262"/>
                      <a:gd name="connsiteY17" fmla="*/ 305088 h 1579473"/>
                      <a:gd name="connsiteX18" fmla="*/ 395303 w 1722262"/>
                      <a:gd name="connsiteY18" fmla="*/ 178883 h 1579473"/>
                      <a:gd name="connsiteX19" fmla="*/ 461598 w 1722262"/>
                      <a:gd name="connsiteY19" fmla="*/ 0 h 1579473"/>
                      <a:gd name="connsiteX0" fmla="*/ 430642 w 1722262"/>
                      <a:gd name="connsiteY0" fmla="*/ 161113 h 1516748"/>
                      <a:gd name="connsiteX1" fmla="*/ 551981 w 1722262"/>
                      <a:gd name="connsiteY1" fmla="*/ 0 h 1516748"/>
                      <a:gd name="connsiteX2" fmla="*/ 773254 w 1722262"/>
                      <a:gd name="connsiteY2" fmla="*/ 312048 h 1516748"/>
                      <a:gd name="connsiteX3" fmla="*/ 1035858 w 1722262"/>
                      <a:gd name="connsiteY3" fmla="*/ 494777 h 1516748"/>
                      <a:gd name="connsiteX4" fmla="*/ 1209558 w 1722262"/>
                      <a:gd name="connsiteY4" fmla="*/ 839833 h 1516748"/>
                      <a:gd name="connsiteX5" fmla="*/ 1693083 w 1722262"/>
                      <a:gd name="connsiteY5" fmla="*/ 1135333 h 1516748"/>
                      <a:gd name="connsiteX6" fmla="*/ 1722262 w 1722262"/>
                      <a:gd name="connsiteY6" fmla="*/ 1321484 h 1516748"/>
                      <a:gd name="connsiteX7" fmla="*/ 1581768 w 1722262"/>
                      <a:gd name="connsiteY7" fmla="*/ 1366729 h 1516748"/>
                      <a:gd name="connsiteX8" fmla="*/ 1357931 w 1722262"/>
                      <a:gd name="connsiteY8" fmla="*/ 1478647 h 1516748"/>
                      <a:gd name="connsiteX9" fmla="*/ 1193625 w 1722262"/>
                      <a:gd name="connsiteY9" fmla="*/ 1516748 h 1516748"/>
                      <a:gd name="connsiteX10" fmla="*/ 1031700 w 1722262"/>
                      <a:gd name="connsiteY10" fmla="*/ 1502460 h 1516748"/>
                      <a:gd name="connsiteX11" fmla="*/ 899330 w 1722262"/>
                      <a:gd name="connsiteY11" fmla="*/ 1472111 h 1516748"/>
                      <a:gd name="connsiteX12" fmla="*/ 715663 w 1722262"/>
                      <a:gd name="connsiteY12" fmla="*/ 1369676 h 1516748"/>
                      <a:gd name="connsiteX13" fmla="*/ 0 w 1722262"/>
                      <a:gd name="connsiteY13" fmla="*/ 718352 h 1516748"/>
                      <a:gd name="connsiteX14" fmla="*/ 147651 w 1722262"/>
                      <a:gd name="connsiteY14" fmla="*/ 528114 h 1516748"/>
                      <a:gd name="connsiteX15" fmla="*/ 161940 w 1722262"/>
                      <a:gd name="connsiteY15" fmla="*/ 430482 h 1516748"/>
                      <a:gd name="connsiteX16" fmla="*/ 180990 w 1722262"/>
                      <a:gd name="connsiteY16" fmla="*/ 347139 h 1516748"/>
                      <a:gd name="connsiteX17" fmla="*/ 264333 w 1722262"/>
                      <a:gd name="connsiteY17" fmla="*/ 242363 h 1516748"/>
                      <a:gd name="connsiteX18" fmla="*/ 395303 w 1722262"/>
                      <a:gd name="connsiteY18" fmla="*/ 116158 h 1516748"/>
                      <a:gd name="connsiteX19" fmla="*/ 430642 w 1722262"/>
                      <a:gd name="connsiteY19" fmla="*/ 161113 h 1516748"/>
                      <a:gd name="connsiteX0" fmla="*/ 430642 w 1722262"/>
                      <a:gd name="connsiteY0" fmla="*/ 170638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161940 w 1722262"/>
                      <a:gd name="connsiteY15" fmla="*/ 440007 h 1526273"/>
                      <a:gd name="connsiteX16" fmla="*/ 180990 w 1722262"/>
                      <a:gd name="connsiteY16" fmla="*/ 356664 h 1526273"/>
                      <a:gd name="connsiteX17" fmla="*/ 264333 w 1722262"/>
                      <a:gd name="connsiteY17" fmla="*/ 251888 h 1526273"/>
                      <a:gd name="connsiteX18" fmla="*/ 395303 w 1722262"/>
                      <a:gd name="connsiteY18" fmla="*/ 125683 h 1526273"/>
                      <a:gd name="connsiteX19" fmla="*/ 430642 w 1722262"/>
                      <a:gd name="connsiteY19" fmla="*/ 170638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161940 w 1722262"/>
                      <a:gd name="connsiteY15" fmla="*/ 440007 h 1526273"/>
                      <a:gd name="connsiteX16" fmla="*/ 180990 w 1722262"/>
                      <a:gd name="connsiteY16" fmla="*/ 356664 h 1526273"/>
                      <a:gd name="connsiteX17" fmla="*/ 264333 w 1722262"/>
                      <a:gd name="connsiteY17" fmla="*/ 251888 h 1526273"/>
                      <a:gd name="connsiteX18" fmla="*/ 395303 w 1722262"/>
                      <a:gd name="connsiteY18" fmla="*/ 125683 h 1526273"/>
                      <a:gd name="connsiteX19" fmla="*/ 394923 w 1722262"/>
                      <a:gd name="connsiteY19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161940 w 1722262"/>
                      <a:gd name="connsiteY15" fmla="*/ 440007 h 1526273"/>
                      <a:gd name="connsiteX16" fmla="*/ 180990 w 1722262"/>
                      <a:gd name="connsiteY16" fmla="*/ 356664 h 1526273"/>
                      <a:gd name="connsiteX17" fmla="*/ 264333 w 1722262"/>
                      <a:gd name="connsiteY17" fmla="*/ 251888 h 1526273"/>
                      <a:gd name="connsiteX18" fmla="*/ 394923 w 1722262"/>
                      <a:gd name="connsiteY18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161940 w 1722262"/>
                      <a:gd name="connsiteY15" fmla="*/ 440007 h 1526273"/>
                      <a:gd name="connsiteX16" fmla="*/ 180990 w 1722262"/>
                      <a:gd name="connsiteY16" fmla="*/ 356664 h 1526273"/>
                      <a:gd name="connsiteX17" fmla="*/ 285764 w 1722262"/>
                      <a:gd name="connsiteY17" fmla="*/ 349519 h 1526273"/>
                      <a:gd name="connsiteX18" fmla="*/ 394923 w 1722262"/>
                      <a:gd name="connsiteY18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161940 w 1722262"/>
                      <a:gd name="connsiteY15" fmla="*/ 440007 h 1526273"/>
                      <a:gd name="connsiteX16" fmla="*/ 285764 w 1722262"/>
                      <a:gd name="connsiteY16" fmla="*/ 349519 h 1526273"/>
                      <a:gd name="connsiteX17" fmla="*/ 394923 w 1722262"/>
                      <a:gd name="connsiteY17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216709 w 1722262"/>
                      <a:gd name="connsiteY15" fmla="*/ 444770 h 1526273"/>
                      <a:gd name="connsiteX16" fmla="*/ 285764 w 1722262"/>
                      <a:gd name="connsiteY16" fmla="*/ 349519 h 1526273"/>
                      <a:gd name="connsiteX17" fmla="*/ 394923 w 1722262"/>
                      <a:gd name="connsiteY17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285764 w 1722262"/>
                      <a:gd name="connsiteY15" fmla="*/ 349519 h 1526273"/>
                      <a:gd name="connsiteX16" fmla="*/ 394923 w 1722262"/>
                      <a:gd name="connsiteY16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285764 w 1722262"/>
                      <a:gd name="connsiteY15" fmla="*/ 349519 h 1526273"/>
                      <a:gd name="connsiteX16" fmla="*/ 394923 w 1722262"/>
                      <a:gd name="connsiteY16" fmla="*/ 203976 h 1526273"/>
                      <a:gd name="connsiteX0" fmla="*/ 394923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292908 w 1722262"/>
                      <a:gd name="connsiteY15" fmla="*/ 349519 h 1526273"/>
                      <a:gd name="connsiteX16" fmla="*/ 394923 w 1722262"/>
                      <a:gd name="connsiteY16" fmla="*/ 203976 h 1526273"/>
                      <a:gd name="connsiteX0" fmla="*/ 404448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035858 w 1722262"/>
                      <a:gd name="connsiteY3" fmla="*/ 504302 h 1526273"/>
                      <a:gd name="connsiteX4" fmla="*/ 1209558 w 1722262"/>
                      <a:gd name="connsiteY4" fmla="*/ 849358 h 1526273"/>
                      <a:gd name="connsiteX5" fmla="*/ 1693083 w 1722262"/>
                      <a:gd name="connsiteY5" fmla="*/ 1144858 h 1526273"/>
                      <a:gd name="connsiteX6" fmla="*/ 1722262 w 1722262"/>
                      <a:gd name="connsiteY6" fmla="*/ 1331009 h 1526273"/>
                      <a:gd name="connsiteX7" fmla="*/ 1581768 w 1722262"/>
                      <a:gd name="connsiteY7" fmla="*/ 1376254 h 1526273"/>
                      <a:gd name="connsiteX8" fmla="*/ 1357931 w 1722262"/>
                      <a:gd name="connsiteY8" fmla="*/ 1488172 h 1526273"/>
                      <a:gd name="connsiteX9" fmla="*/ 1193625 w 1722262"/>
                      <a:gd name="connsiteY9" fmla="*/ 1526273 h 1526273"/>
                      <a:gd name="connsiteX10" fmla="*/ 1031700 w 1722262"/>
                      <a:gd name="connsiteY10" fmla="*/ 1511985 h 1526273"/>
                      <a:gd name="connsiteX11" fmla="*/ 899330 w 1722262"/>
                      <a:gd name="connsiteY11" fmla="*/ 1481636 h 1526273"/>
                      <a:gd name="connsiteX12" fmla="*/ 715663 w 1722262"/>
                      <a:gd name="connsiteY12" fmla="*/ 1379201 h 1526273"/>
                      <a:gd name="connsiteX13" fmla="*/ 0 w 1722262"/>
                      <a:gd name="connsiteY13" fmla="*/ 727877 h 1526273"/>
                      <a:gd name="connsiteX14" fmla="*/ 147651 w 1722262"/>
                      <a:gd name="connsiteY14" fmla="*/ 537639 h 1526273"/>
                      <a:gd name="connsiteX15" fmla="*/ 292908 w 1722262"/>
                      <a:gd name="connsiteY15" fmla="*/ 349519 h 1526273"/>
                      <a:gd name="connsiteX16" fmla="*/ 404448 w 1722262"/>
                      <a:gd name="connsiteY16" fmla="*/ 203976 h 1526273"/>
                      <a:gd name="connsiteX0" fmla="*/ 404448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209558 w 1722262"/>
                      <a:gd name="connsiteY3" fmla="*/ 849358 h 1526273"/>
                      <a:gd name="connsiteX4" fmla="*/ 1693083 w 1722262"/>
                      <a:gd name="connsiteY4" fmla="*/ 1144858 h 1526273"/>
                      <a:gd name="connsiteX5" fmla="*/ 1722262 w 1722262"/>
                      <a:gd name="connsiteY5" fmla="*/ 1331009 h 1526273"/>
                      <a:gd name="connsiteX6" fmla="*/ 1581768 w 1722262"/>
                      <a:gd name="connsiteY6" fmla="*/ 1376254 h 1526273"/>
                      <a:gd name="connsiteX7" fmla="*/ 1357931 w 1722262"/>
                      <a:gd name="connsiteY7" fmla="*/ 1488172 h 1526273"/>
                      <a:gd name="connsiteX8" fmla="*/ 1193625 w 1722262"/>
                      <a:gd name="connsiteY8" fmla="*/ 1526273 h 1526273"/>
                      <a:gd name="connsiteX9" fmla="*/ 1031700 w 1722262"/>
                      <a:gd name="connsiteY9" fmla="*/ 1511985 h 1526273"/>
                      <a:gd name="connsiteX10" fmla="*/ 899330 w 1722262"/>
                      <a:gd name="connsiteY10" fmla="*/ 1481636 h 1526273"/>
                      <a:gd name="connsiteX11" fmla="*/ 715663 w 1722262"/>
                      <a:gd name="connsiteY11" fmla="*/ 1379201 h 1526273"/>
                      <a:gd name="connsiteX12" fmla="*/ 0 w 1722262"/>
                      <a:gd name="connsiteY12" fmla="*/ 727877 h 1526273"/>
                      <a:gd name="connsiteX13" fmla="*/ 147651 w 1722262"/>
                      <a:gd name="connsiteY13" fmla="*/ 537639 h 1526273"/>
                      <a:gd name="connsiteX14" fmla="*/ 292908 w 1722262"/>
                      <a:gd name="connsiteY14" fmla="*/ 349519 h 1526273"/>
                      <a:gd name="connsiteX15" fmla="*/ 404448 w 1722262"/>
                      <a:gd name="connsiteY15" fmla="*/ 203976 h 1526273"/>
                      <a:gd name="connsiteX0" fmla="*/ 404448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209558 w 1722262"/>
                      <a:gd name="connsiteY3" fmla="*/ 789922 h 1526273"/>
                      <a:gd name="connsiteX4" fmla="*/ 1693083 w 1722262"/>
                      <a:gd name="connsiteY4" fmla="*/ 1144858 h 1526273"/>
                      <a:gd name="connsiteX5" fmla="*/ 1722262 w 1722262"/>
                      <a:gd name="connsiteY5" fmla="*/ 1331009 h 1526273"/>
                      <a:gd name="connsiteX6" fmla="*/ 1581768 w 1722262"/>
                      <a:gd name="connsiteY6" fmla="*/ 1376254 h 1526273"/>
                      <a:gd name="connsiteX7" fmla="*/ 1357931 w 1722262"/>
                      <a:gd name="connsiteY7" fmla="*/ 1488172 h 1526273"/>
                      <a:gd name="connsiteX8" fmla="*/ 1193625 w 1722262"/>
                      <a:gd name="connsiteY8" fmla="*/ 1526273 h 1526273"/>
                      <a:gd name="connsiteX9" fmla="*/ 1031700 w 1722262"/>
                      <a:gd name="connsiteY9" fmla="*/ 1511985 h 1526273"/>
                      <a:gd name="connsiteX10" fmla="*/ 899330 w 1722262"/>
                      <a:gd name="connsiteY10" fmla="*/ 1481636 h 1526273"/>
                      <a:gd name="connsiteX11" fmla="*/ 715663 w 1722262"/>
                      <a:gd name="connsiteY11" fmla="*/ 1379201 h 1526273"/>
                      <a:gd name="connsiteX12" fmla="*/ 0 w 1722262"/>
                      <a:gd name="connsiteY12" fmla="*/ 727877 h 1526273"/>
                      <a:gd name="connsiteX13" fmla="*/ 147651 w 1722262"/>
                      <a:gd name="connsiteY13" fmla="*/ 537639 h 1526273"/>
                      <a:gd name="connsiteX14" fmla="*/ 292908 w 1722262"/>
                      <a:gd name="connsiteY14" fmla="*/ 349519 h 1526273"/>
                      <a:gd name="connsiteX15" fmla="*/ 404448 w 1722262"/>
                      <a:gd name="connsiteY15" fmla="*/ 203976 h 1526273"/>
                      <a:gd name="connsiteX0" fmla="*/ 404448 w 1722262"/>
                      <a:gd name="connsiteY0" fmla="*/ 203976 h 1526273"/>
                      <a:gd name="connsiteX1" fmla="*/ 547219 w 1722262"/>
                      <a:gd name="connsiteY1" fmla="*/ 0 h 1526273"/>
                      <a:gd name="connsiteX2" fmla="*/ 773254 w 1722262"/>
                      <a:gd name="connsiteY2" fmla="*/ 321573 h 1526273"/>
                      <a:gd name="connsiteX3" fmla="*/ 1209558 w 1722262"/>
                      <a:gd name="connsiteY3" fmla="*/ 789922 h 1526273"/>
                      <a:gd name="connsiteX4" fmla="*/ 1706799 w 1722262"/>
                      <a:gd name="connsiteY4" fmla="*/ 1044274 h 1526273"/>
                      <a:gd name="connsiteX5" fmla="*/ 1722262 w 1722262"/>
                      <a:gd name="connsiteY5" fmla="*/ 1331009 h 1526273"/>
                      <a:gd name="connsiteX6" fmla="*/ 1581768 w 1722262"/>
                      <a:gd name="connsiteY6" fmla="*/ 1376254 h 1526273"/>
                      <a:gd name="connsiteX7" fmla="*/ 1357931 w 1722262"/>
                      <a:gd name="connsiteY7" fmla="*/ 1488172 h 1526273"/>
                      <a:gd name="connsiteX8" fmla="*/ 1193625 w 1722262"/>
                      <a:gd name="connsiteY8" fmla="*/ 1526273 h 1526273"/>
                      <a:gd name="connsiteX9" fmla="*/ 1031700 w 1722262"/>
                      <a:gd name="connsiteY9" fmla="*/ 1511985 h 1526273"/>
                      <a:gd name="connsiteX10" fmla="*/ 899330 w 1722262"/>
                      <a:gd name="connsiteY10" fmla="*/ 1481636 h 1526273"/>
                      <a:gd name="connsiteX11" fmla="*/ 715663 w 1722262"/>
                      <a:gd name="connsiteY11" fmla="*/ 1379201 h 1526273"/>
                      <a:gd name="connsiteX12" fmla="*/ 0 w 1722262"/>
                      <a:gd name="connsiteY12" fmla="*/ 727877 h 1526273"/>
                      <a:gd name="connsiteX13" fmla="*/ 147651 w 1722262"/>
                      <a:gd name="connsiteY13" fmla="*/ 537639 h 1526273"/>
                      <a:gd name="connsiteX14" fmla="*/ 292908 w 1722262"/>
                      <a:gd name="connsiteY14" fmla="*/ 349519 h 1526273"/>
                      <a:gd name="connsiteX15" fmla="*/ 404448 w 1722262"/>
                      <a:gd name="connsiteY15" fmla="*/ 203976 h 15262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1722262" h="1526273">
                        <a:moveTo>
                          <a:pt x="404448" y="203976"/>
                        </a:moveTo>
                        <a:lnTo>
                          <a:pt x="547219" y="0"/>
                        </a:lnTo>
                        <a:lnTo>
                          <a:pt x="773254" y="321573"/>
                        </a:lnTo>
                        <a:lnTo>
                          <a:pt x="1209558" y="789922"/>
                        </a:lnTo>
                        <a:lnTo>
                          <a:pt x="1706799" y="1044274"/>
                        </a:lnTo>
                        <a:lnTo>
                          <a:pt x="1722262" y="1331009"/>
                        </a:lnTo>
                        <a:lnTo>
                          <a:pt x="1581768" y="1376254"/>
                        </a:lnTo>
                        <a:lnTo>
                          <a:pt x="1357931" y="1488172"/>
                        </a:lnTo>
                        <a:lnTo>
                          <a:pt x="1193625" y="1526273"/>
                        </a:lnTo>
                        <a:lnTo>
                          <a:pt x="1031700" y="1511985"/>
                        </a:lnTo>
                        <a:lnTo>
                          <a:pt x="899330" y="1481636"/>
                        </a:lnTo>
                        <a:lnTo>
                          <a:pt x="715663" y="1379201"/>
                        </a:lnTo>
                        <a:lnTo>
                          <a:pt x="0" y="727877"/>
                        </a:lnTo>
                        <a:lnTo>
                          <a:pt x="147651" y="537639"/>
                        </a:lnTo>
                        <a:lnTo>
                          <a:pt x="292908" y="349519"/>
                        </a:lnTo>
                        <a:lnTo>
                          <a:pt x="404448" y="203976"/>
                        </a:lnTo>
                        <a:close/>
                      </a:path>
                    </a:pathLst>
                  </a:custGeom>
                  <a:solidFill>
                    <a:srgbClr val="9966CC">
                      <a:alpha val="50196"/>
                    </a:srgbClr>
                  </a:solidFill>
                  <a:ln w="9525">
                    <a:solidFill>
                      <a:schemeClr val="accent4"/>
                    </a:solidFill>
                    <a:prstDash val="sysDot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2400" dirty="0"/>
                  </a:p>
                </p:txBody>
              </p:sp>
              <p:cxnSp>
                <p:nvCxnSpPr>
                  <p:cNvPr id="184" name="Straight Connector 183">
                    <a:extLst>
                      <a:ext uri="{FF2B5EF4-FFF2-40B4-BE49-F238E27FC236}">
                        <a16:creationId xmlns:a16="http://schemas.microsoft.com/office/drawing/2014/main" id="{8609E7EC-BBDD-4151-95EF-67FCFC85E987}"/>
                      </a:ext>
                    </a:extLst>
                  </p:cNvPr>
                  <p:cNvCxnSpPr>
                    <a:cxnSpLocks/>
                    <a:stCxn id="144" idx="3"/>
                    <a:endCxn id="314" idx="3"/>
                  </p:cNvCxnSpPr>
                  <p:nvPr/>
                </p:nvCxnSpPr>
                <p:spPr>
                  <a:xfrm flipH="1">
                    <a:off x="8331530" y="3351584"/>
                    <a:ext cx="168867" cy="53790"/>
                  </a:xfrm>
                  <a:prstGeom prst="line">
                    <a:avLst/>
                  </a:prstGeom>
                  <a:ln w="12700">
                    <a:solidFill>
                      <a:srgbClr val="C00000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25" name="Group 24">
                    <a:extLst>
                      <a:ext uri="{FF2B5EF4-FFF2-40B4-BE49-F238E27FC236}">
                        <a16:creationId xmlns:a16="http://schemas.microsoft.com/office/drawing/2014/main" id="{76B8F707-DC01-45A1-A005-ED6CA7F49601}"/>
                      </a:ext>
                    </a:extLst>
                  </p:cNvPr>
                  <p:cNvGrpSpPr/>
                  <p:nvPr/>
                </p:nvGrpSpPr>
                <p:grpSpPr>
                  <a:xfrm>
                    <a:off x="7046746" y="2821979"/>
                    <a:ext cx="1453651" cy="798310"/>
                    <a:chOff x="7046746" y="2821979"/>
                    <a:chExt cx="1453651" cy="798310"/>
                  </a:xfrm>
                </p:grpSpPr>
                <p:cxnSp>
                  <p:nvCxnSpPr>
                    <p:cNvPr id="105" name="Straight Connector 104">
                      <a:extLst>
                        <a:ext uri="{FF2B5EF4-FFF2-40B4-BE49-F238E27FC236}">
                          <a16:creationId xmlns:a16="http://schemas.microsoft.com/office/drawing/2014/main" id="{39CB64C7-F190-41D5-8D63-803A030B09CE}"/>
                        </a:ext>
                      </a:extLst>
                    </p:cNvPr>
                    <p:cNvCxnSpPr>
                      <a:cxnSpLocks/>
                      <a:stCxn id="185" idx="6"/>
                      <a:endCxn id="225" idx="2"/>
                    </p:cNvCxnSpPr>
                    <p:nvPr/>
                  </p:nvCxnSpPr>
                  <p:spPr>
                    <a:xfrm>
                      <a:off x="7082746" y="2839979"/>
                      <a:ext cx="470776" cy="180110"/>
                    </a:xfrm>
                    <a:prstGeom prst="line">
                      <a:avLst/>
                    </a:prstGeom>
                    <a:ln w="12700">
                      <a:solidFill>
                        <a:srgbClr val="C0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185" name="Oval 184">
                      <a:extLst>
                        <a:ext uri="{FF2B5EF4-FFF2-40B4-BE49-F238E27FC236}">
                          <a16:creationId xmlns:a16="http://schemas.microsoft.com/office/drawing/2014/main" id="{95ECCC82-E15C-4408-951B-26DC4B1AA9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46746" y="2821979"/>
                      <a:ext cx="36000" cy="3600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sz="2400"/>
                    </a:p>
                  </p:txBody>
                </p:sp>
                <p:sp>
                  <p:nvSpPr>
                    <p:cNvPr id="225" name="Oval 224">
                      <a:extLst>
                        <a:ext uri="{FF2B5EF4-FFF2-40B4-BE49-F238E27FC236}">
                          <a16:creationId xmlns:a16="http://schemas.microsoft.com/office/drawing/2014/main" id="{F8E22966-95EE-4786-B20B-D18034C578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553522" y="3002089"/>
                      <a:ext cx="36000" cy="36000"/>
                    </a:xfrm>
                    <a:prstGeom prst="ellipse">
                      <a:avLst/>
                    </a:prstGeom>
                    <a:solidFill>
                      <a:srgbClr val="C000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sz="2400"/>
                    </a:p>
                  </p:txBody>
                </p:sp>
                <p:cxnSp>
                  <p:nvCxnSpPr>
                    <p:cNvPr id="228" name="Straight Connector 227">
                      <a:extLst>
                        <a:ext uri="{FF2B5EF4-FFF2-40B4-BE49-F238E27FC236}">
                          <a16:creationId xmlns:a16="http://schemas.microsoft.com/office/drawing/2014/main" id="{D817DF68-9A3A-4CBC-A9D1-2405B14BFAD0}"/>
                        </a:ext>
                      </a:extLst>
                    </p:cNvPr>
                    <p:cNvCxnSpPr>
                      <a:cxnSpLocks/>
                      <a:stCxn id="144" idx="1"/>
                      <a:endCxn id="225" idx="5"/>
                    </p:cNvCxnSpPr>
                    <p:nvPr/>
                  </p:nvCxnSpPr>
                  <p:spPr>
                    <a:xfrm flipH="1" flipV="1">
                      <a:off x="7584250" y="3032817"/>
                      <a:ext cx="916147" cy="293311"/>
                    </a:xfrm>
                    <a:prstGeom prst="line">
                      <a:avLst/>
                    </a:prstGeom>
                    <a:ln w="12700">
                      <a:solidFill>
                        <a:srgbClr val="C00000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312" name="Group 311">
                      <a:extLst>
                        <a:ext uri="{FF2B5EF4-FFF2-40B4-BE49-F238E27FC236}">
                          <a16:creationId xmlns:a16="http://schemas.microsoft.com/office/drawing/2014/main" id="{000855D1-99A3-455E-A4CB-BE293F9476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006954" y="3293083"/>
                      <a:ext cx="334100" cy="327206"/>
                      <a:chOff x="6472548" y="1520789"/>
                      <a:chExt cx="603816" cy="592500"/>
                    </a:xfrm>
                  </p:grpSpPr>
                  <p:sp>
                    <p:nvSpPr>
                      <p:cNvPr id="313" name="Oval 312">
                        <a:extLst>
                          <a:ext uri="{FF2B5EF4-FFF2-40B4-BE49-F238E27FC236}">
                            <a16:creationId xmlns:a16="http://schemas.microsoft.com/office/drawing/2014/main" id="{C68F6E68-7F81-4B05-8277-7ECDE41CA3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493634" y="1520789"/>
                        <a:ext cx="582730" cy="582730"/>
                      </a:xfrm>
                      <a:prstGeom prst="ellipse">
                        <a:avLst/>
                      </a:prstGeom>
                      <a:solidFill>
                        <a:srgbClr val="93CC00"/>
                      </a:solidFill>
                      <a:ln>
                        <a:noFill/>
                      </a:ln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b-NO" sz="2400" dirty="0"/>
                      </a:p>
                    </p:txBody>
                  </p:sp>
                  <p:pic>
                    <p:nvPicPr>
                      <p:cNvPr id="314" name="Grafikk 28" descr="Kirsebær">
                        <a:extLst>
                          <a:ext uri="{FF2B5EF4-FFF2-40B4-BE49-F238E27FC236}">
                            <a16:creationId xmlns:a16="http://schemas.microsoft.com/office/drawing/2014/main" id="{BAD647FF-CC2A-4BF4-82CF-9524CE09E0A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3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14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750465">
                        <a:off x="6767133" y="1544298"/>
                        <a:ext cx="295524" cy="29552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15" name="Grafikk 30" descr="Chilipepper">
                        <a:extLst>
                          <a:ext uri="{FF2B5EF4-FFF2-40B4-BE49-F238E27FC236}">
                            <a16:creationId xmlns:a16="http://schemas.microsoft.com/office/drawing/2014/main" id="{2AE6CD9F-AB68-4440-9423-33C9D11D8CFC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5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16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1385624">
                        <a:off x="6659774" y="1806355"/>
                        <a:ext cx="294956" cy="30693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16" name="Grafikk 38" descr="Aubergine">
                        <a:extLst>
                          <a:ext uri="{FF2B5EF4-FFF2-40B4-BE49-F238E27FC236}">
                            <a16:creationId xmlns:a16="http://schemas.microsoft.com/office/drawing/2014/main" id="{95DF7309-96A6-424E-9104-E36B08091828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7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18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20073725">
                        <a:off x="6472548" y="1610219"/>
                        <a:ext cx="269634" cy="269634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317" name="Grafikk 40" descr="Fersken">
                        <a:extLst>
                          <a:ext uri="{FF2B5EF4-FFF2-40B4-BE49-F238E27FC236}">
                            <a16:creationId xmlns:a16="http://schemas.microsoft.com/office/drawing/2014/main" id="{B17DE359-766E-46CF-B982-8AB8E5E364D6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9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20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>
                        <a:off x="6643810" y="1734783"/>
                        <a:ext cx="227063" cy="227063"/>
                      </a:xfrm>
                      <a:prstGeom prst="rect">
                        <a:avLst/>
                      </a:prstGeom>
                    </p:spPr>
                  </p:pic>
                </p:grpSp>
              </p:grpSp>
              <p:grpSp>
                <p:nvGrpSpPr>
                  <p:cNvPr id="15" name="Group 14">
                    <a:extLst>
                      <a:ext uri="{FF2B5EF4-FFF2-40B4-BE49-F238E27FC236}">
                        <a16:creationId xmlns:a16="http://schemas.microsoft.com/office/drawing/2014/main" id="{A55EB5A2-EC82-4C2C-9CAC-9FC51886E8A6}"/>
                      </a:ext>
                    </a:extLst>
                  </p:cNvPr>
                  <p:cNvGrpSpPr/>
                  <p:nvPr/>
                </p:nvGrpSpPr>
                <p:grpSpPr>
                  <a:xfrm>
                    <a:off x="4228880" y="0"/>
                    <a:ext cx="2468053" cy="4597136"/>
                    <a:chOff x="4228880" y="0"/>
                    <a:chExt cx="2468053" cy="4597136"/>
                  </a:xfrm>
                </p:grpSpPr>
                <p:sp>
                  <p:nvSpPr>
                    <p:cNvPr id="252" name="Oval 251">
                      <a:extLst>
                        <a:ext uri="{FF2B5EF4-FFF2-40B4-BE49-F238E27FC236}">
                          <a16:creationId xmlns:a16="http://schemas.microsoft.com/office/drawing/2014/main" id="{DB38B1D9-6FFD-48FC-8105-DA5553CB41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515146" y="3133622"/>
                      <a:ext cx="148929" cy="148929"/>
                    </a:xfrm>
                    <a:prstGeom prst="ellipse">
                      <a:avLst/>
                    </a:prstGeom>
                    <a:solidFill>
                      <a:schemeClr val="bg1">
                        <a:lumMod val="95000"/>
                        <a:alpha val="50196"/>
                      </a:schemeClr>
                    </a:solidFill>
                    <a:ln w="6350">
                      <a:solidFill>
                        <a:schemeClr val="tx1"/>
                      </a:solidFill>
                      <a:prstDash val="solid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ctr"/>
                      <a:endParaRPr lang="en-GB" sz="2400"/>
                    </a:p>
                  </p:txBody>
                </p:sp>
                <p:grpSp>
                  <p:nvGrpSpPr>
                    <p:cNvPr id="271" name="Group 270">
                      <a:extLst>
                        <a:ext uri="{FF2B5EF4-FFF2-40B4-BE49-F238E27FC236}">
                          <a16:creationId xmlns:a16="http://schemas.microsoft.com/office/drawing/2014/main" id="{3642D1AE-D529-4643-A75B-A6461BC8BA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374671" y="4275325"/>
                      <a:ext cx="322262" cy="321811"/>
                      <a:chOff x="1219199" y="2043154"/>
                      <a:chExt cx="388938" cy="388394"/>
                    </a:xfrm>
                  </p:grpSpPr>
                  <p:sp>
                    <p:nvSpPr>
                      <p:cNvPr id="272" name="Oval 271">
                        <a:extLst>
                          <a:ext uri="{FF2B5EF4-FFF2-40B4-BE49-F238E27FC236}">
                            <a16:creationId xmlns:a16="http://schemas.microsoft.com/office/drawing/2014/main" id="{6C3BCE93-BE8C-4177-B985-173A889C79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199" y="2043154"/>
                        <a:ext cx="388938" cy="388394"/>
                      </a:xfrm>
                      <a:prstGeom prst="ellipse">
                        <a:avLst/>
                      </a:prstGeom>
                      <a:solidFill>
                        <a:srgbClr val="93CC00"/>
                      </a:solidFill>
                      <a:ln>
                        <a:noFill/>
                      </a:ln>
                      <a:effectLst>
                        <a:outerShdw blurRad="50800" dist="38100" dir="2700000" algn="tl" rotWithShape="0">
                          <a:prstClr val="black">
                            <a:alpha val="40000"/>
                          </a:prstClr>
                        </a:outerShdw>
                      </a:effectLst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nb-NO" sz="2400" dirty="0"/>
                      </a:p>
                    </p:txBody>
                  </p:sp>
                  <p:pic>
                    <p:nvPicPr>
                      <p:cNvPr id="273" name="Grafikk 15" descr="Fisk">
                        <a:extLst>
                          <a:ext uri="{FF2B5EF4-FFF2-40B4-BE49-F238E27FC236}">
                            <a16:creationId xmlns:a16="http://schemas.microsoft.com/office/drawing/2014/main" id="{315E5482-F1FF-478F-B32D-7431CADCC69B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21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  <a:ext uri="{96DAC541-7B7A-43D3-8B79-37D633B846F1}">
                            <asvg:svgBlip xmlns:asvg="http://schemas.microsoft.com/office/drawing/2016/SVG/main" r:embed="rId22"/>
                          </a:ext>
                        </a:extLst>
                      </a:blip>
                      <a:stretch>
                        <a:fillRect/>
                      </a:stretch>
                    </p:blipFill>
                    <p:spPr>
                      <a:xfrm rot="20380375">
                        <a:off x="1267389" y="2094177"/>
                        <a:ext cx="297648" cy="297232"/>
                      </a:xfrm>
                      <a:prstGeom prst="rect">
                        <a:avLst/>
                      </a:prstGeom>
                    </p:spPr>
                  </p:pic>
                </p:grpSp>
                <p:cxnSp>
                  <p:nvCxnSpPr>
                    <p:cNvPr id="250" name="Straight Connector 249">
                      <a:extLst>
                        <a:ext uri="{FF2B5EF4-FFF2-40B4-BE49-F238E27FC236}">
                          <a16:creationId xmlns:a16="http://schemas.microsoft.com/office/drawing/2014/main" id="{1E186D1D-6BE1-4452-884C-6705BA1971E0}"/>
                        </a:ext>
                      </a:extLst>
                    </p:cNvPr>
                    <p:cNvCxnSpPr>
                      <a:cxnSpLocks/>
                      <a:endCxn id="272" idx="2"/>
                    </p:cNvCxnSpPr>
                    <p:nvPr/>
                  </p:nvCxnSpPr>
                  <p:spPr>
                    <a:xfrm>
                      <a:off x="4591050" y="3209925"/>
                      <a:ext cx="1783621" cy="1226306"/>
                    </a:xfrm>
                    <a:prstGeom prst="line">
                      <a:avLst/>
                    </a:prstGeom>
                    <a:ln w="12700">
                      <a:solidFill>
                        <a:schemeClr val="accent5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sp>
                  <p:nvSpPr>
                    <p:cNvPr id="372" name="TextBox 371">
                      <a:extLst>
                        <a:ext uri="{FF2B5EF4-FFF2-40B4-BE49-F238E27FC236}">
                          <a16:creationId xmlns:a16="http://schemas.microsoft.com/office/drawing/2014/main" id="{07900DAE-CD3D-405B-BBCA-4DBBB26F419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228880" y="2841938"/>
                      <a:ext cx="744247" cy="253916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nb-NO" sz="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YTT RENSE-ANLEGG</a:t>
                      </a:r>
                      <a:endParaRPr lang="en-GB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cxnSp>
                  <p:nvCxnSpPr>
                    <p:cNvPr id="374" name="Straight Connector 373">
                      <a:extLst>
                        <a:ext uri="{FF2B5EF4-FFF2-40B4-BE49-F238E27FC236}">
                          <a16:creationId xmlns:a16="http://schemas.microsoft.com/office/drawing/2014/main" id="{1C924A47-6854-4FAD-9482-BFFCFC8FB8F5}"/>
                        </a:ext>
                      </a:extLst>
                    </p:cNvPr>
                    <p:cNvCxnSpPr>
                      <a:cxnSpLocks/>
                      <a:endCxn id="272" idx="1"/>
                    </p:cNvCxnSpPr>
                    <p:nvPr/>
                  </p:nvCxnSpPr>
                  <p:spPr>
                    <a:xfrm>
                      <a:off x="5380790" y="3547736"/>
                      <a:ext cx="1041075" cy="774717"/>
                    </a:xfrm>
                    <a:prstGeom prst="line">
                      <a:avLst/>
                    </a:prstGeom>
                    <a:ln w="12700">
                      <a:solidFill>
                        <a:schemeClr val="accent5"/>
                      </a:solidFill>
                      <a:headEnd type="oval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377" name="Straight Connector 376">
                      <a:extLst>
                        <a:ext uri="{FF2B5EF4-FFF2-40B4-BE49-F238E27FC236}">
                          <a16:creationId xmlns:a16="http://schemas.microsoft.com/office/drawing/2014/main" id="{123F23B6-95D3-4516-8566-9B49A082D21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5381625" y="0"/>
                      <a:ext cx="1166813" cy="3552825"/>
                    </a:xfrm>
                    <a:prstGeom prst="line">
                      <a:avLst/>
                    </a:prstGeom>
                    <a:ln w="12700">
                      <a:solidFill>
                        <a:schemeClr val="accent5"/>
                      </a:solidFill>
                      <a:headEnd type="none" w="sm" len="sm"/>
                      <a:tailEnd type="oval" w="sm" len="sm"/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  <p:cxnSp>
            <p:nvCxnSpPr>
              <p:cNvPr id="301" name="Straight Connector 300">
                <a:extLst>
                  <a:ext uri="{FF2B5EF4-FFF2-40B4-BE49-F238E27FC236}">
                    <a16:creationId xmlns:a16="http://schemas.microsoft.com/office/drawing/2014/main" id="{451C8F40-6F0A-440C-B8CA-21172BF4C8C8}"/>
                  </a:ext>
                </a:extLst>
              </p:cNvPr>
              <p:cNvCxnSpPr>
                <a:cxnSpLocks/>
                <a:stCxn id="272" idx="7"/>
                <a:endCxn id="281" idx="4"/>
              </p:cNvCxnSpPr>
              <p:nvPr/>
            </p:nvCxnSpPr>
            <p:spPr>
              <a:xfrm flipV="1">
                <a:off x="6649739" y="2674406"/>
                <a:ext cx="1190630" cy="1648047"/>
              </a:xfrm>
              <a:prstGeom prst="line">
                <a:avLst/>
              </a:prstGeom>
              <a:ln w="12700">
                <a:solidFill>
                  <a:schemeClr val="bg1"/>
                </a:solidFill>
                <a:headEnd type="oval" w="sm" len="sm"/>
                <a:tailEnd type="oval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9" name="Straight Connector 308">
                <a:extLst>
                  <a:ext uri="{FF2B5EF4-FFF2-40B4-BE49-F238E27FC236}">
                    <a16:creationId xmlns:a16="http://schemas.microsoft.com/office/drawing/2014/main" id="{BB3950BF-A347-443B-902C-91625D58DCE2}"/>
                  </a:ext>
                </a:extLst>
              </p:cNvPr>
              <p:cNvCxnSpPr>
                <a:cxnSpLocks/>
                <a:stCxn id="272" idx="0"/>
                <a:endCxn id="194" idx="5"/>
              </p:cNvCxnSpPr>
              <p:nvPr/>
            </p:nvCxnSpPr>
            <p:spPr>
              <a:xfrm flipH="1" flipV="1">
                <a:off x="6273416" y="3715149"/>
                <a:ext cx="262386" cy="560176"/>
              </a:xfrm>
              <a:prstGeom prst="line">
                <a:avLst/>
              </a:prstGeom>
              <a:ln w="12700">
                <a:solidFill>
                  <a:srgbClr val="C00000"/>
                </a:solidFill>
                <a:headEnd type="oval" w="sm" len="sm"/>
                <a:tailEnd type="non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611486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00A2F52-80C1-4F18-9BC9-A317A97592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143227"/>
          </a:xfrm>
        </p:spPr>
        <p:txBody>
          <a:bodyPr/>
          <a:lstStyle/>
          <a:p>
            <a:r>
              <a:rPr lang="nb-NO" dirty="0"/>
              <a:t>NY HAVN FOR Hvem ?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13930FE-EABF-4E4C-9290-E7BC80D549C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3774" y="1633728"/>
            <a:ext cx="5797922" cy="4157471"/>
          </a:xfrm>
        </p:spPr>
        <p:txBody>
          <a:bodyPr>
            <a:normAutofit fontScale="70000" lnSpcReduction="20000"/>
          </a:bodyPr>
          <a:lstStyle/>
          <a:p>
            <a:r>
              <a:rPr lang="nb-NO" dirty="0"/>
              <a:t>SJØMATHAVN/FISKERIHAVN</a:t>
            </a:r>
          </a:p>
          <a:p>
            <a:pPr lvl="1"/>
            <a:r>
              <a:rPr lang="nb-NO" dirty="0"/>
              <a:t>Etablering av ny fiskeindustri</a:t>
            </a:r>
          </a:p>
          <a:p>
            <a:pPr lvl="1"/>
            <a:r>
              <a:rPr lang="nb-NO" dirty="0"/>
              <a:t>OPPDRETT</a:t>
            </a:r>
          </a:p>
          <a:p>
            <a:pPr lvl="1"/>
            <a:r>
              <a:rPr lang="nb-NO" dirty="0"/>
              <a:t>Etablering av fryseri</a:t>
            </a:r>
          </a:p>
          <a:p>
            <a:pPr lvl="1"/>
            <a:r>
              <a:rPr lang="nb-NO" dirty="0"/>
              <a:t>HAVFISKEFLÅTEN</a:t>
            </a:r>
          </a:p>
          <a:p>
            <a:r>
              <a:rPr lang="nb-NO" dirty="0"/>
              <a:t>GODSHAVN</a:t>
            </a:r>
          </a:p>
          <a:p>
            <a:pPr lvl="1"/>
            <a:r>
              <a:rPr lang="nb-NO" dirty="0"/>
              <a:t>Eksport av NH3/H2</a:t>
            </a:r>
          </a:p>
          <a:p>
            <a:pPr lvl="1"/>
            <a:r>
              <a:rPr lang="nb-NO" dirty="0"/>
              <a:t>INNGÅENDE GODS FOR OPPDRETT</a:t>
            </a:r>
          </a:p>
          <a:p>
            <a:pPr lvl="1"/>
            <a:r>
              <a:rPr lang="nb-NO" dirty="0"/>
              <a:t>INNGÅENDE GODS FOR utbygginger</a:t>
            </a:r>
          </a:p>
          <a:p>
            <a:pPr lvl="1"/>
            <a:r>
              <a:rPr lang="nb-NO" dirty="0"/>
              <a:t>Import/eksport av andre produkter</a:t>
            </a:r>
          </a:p>
          <a:p>
            <a:pPr lvl="1"/>
            <a:r>
              <a:rPr lang="nb-NO" dirty="0"/>
              <a:t>Godsknutepunkt</a:t>
            </a:r>
          </a:p>
          <a:p>
            <a:r>
              <a:rPr lang="nb-NO" dirty="0"/>
              <a:t>PASSASJERHAVN</a:t>
            </a:r>
          </a:p>
          <a:p>
            <a:pPr lvl="1"/>
            <a:r>
              <a:rPr lang="nb-NO" dirty="0"/>
              <a:t>KYSTRUTA</a:t>
            </a:r>
          </a:p>
          <a:p>
            <a:pPr lvl="2"/>
            <a:r>
              <a:rPr lang="nb-NO" dirty="0"/>
              <a:t>Hurtigruta</a:t>
            </a:r>
          </a:p>
          <a:p>
            <a:pPr lvl="2"/>
            <a:r>
              <a:rPr lang="nb-NO" dirty="0" err="1"/>
              <a:t>Havila</a:t>
            </a:r>
            <a:r>
              <a:rPr lang="nb-NO" dirty="0"/>
              <a:t> Kystruta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47608768-08B5-4C4C-A957-16D33866B13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172200" y="2548127"/>
            <a:ext cx="5105400" cy="451105"/>
          </a:xfrm>
        </p:spPr>
        <p:txBody>
          <a:bodyPr/>
          <a:lstStyle/>
          <a:p>
            <a:pPr marL="457200" lvl="1" indent="0">
              <a:buNone/>
            </a:pPr>
            <a:r>
              <a:rPr lang="nb-NO" dirty="0">
                <a:solidFill>
                  <a:srgbClr val="0070C0"/>
                </a:solidFill>
              </a:rPr>
              <a:t>HYDROGENKNUTEPUNKT I ARCTIC</a:t>
            </a:r>
          </a:p>
        </p:txBody>
      </p:sp>
    </p:spTree>
    <p:extLst>
      <p:ext uri="{BB962C8B-B14F-4D97-AF65-F5344CB8AC3E}">
        <p14:creationId xmlns:p14="http://schemas.microsoft.com/office/powerpoint/2010/main" val="20028128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588DCB8-3B17-4F0D-8081-5AAA47702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BYGGING HAV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33E3A8-03F2-4919-BD4A-2C67CD5ABB8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nb-NO" dirty="0"/>
              <a:t>KAIFRONT</a:t>
            </a:r>
          </a:p>
          <a:p>
            <a:r>
              <a:rPr lang="nb-NO" dirty="0"/>
              <a:t>BAKAREAL</a:t>
            </a:r>
          </a:p>
          <a:p>
            <a:r>
              <a:rPr lang="nb-NO" dirty="0"/>
              <a:t>DYBDE I HAVNA</a:t>
            </a:r>
          </a:p>
          <a:p>
            <a:pPr lvl="1"/>
            <a:r>
              <a:rPr lang="nb-NO" dirty="0"/>
              <a:t>10 meter</a:t>
            </a:r>
          </a:p>
          <a:p>
            <a:r>
              <a:rPr lang="nb-NO" dirty="0"/>
              <a:t>ANDRE FASILITETER</a:t>
            </a:r>
          </a:p>
          <a:p>
            <a:pPr lvl="1"/>
            <a:r>
              <a:rPr lang="nb-NO" dirty="0"/>
              <a:t>Terminal</a:t>
            </a:r>
          </a:p>
          <a:p>
            <a:pPr lvl="1"/>
            <a:r>
              <a:rPr lang="nb-NO" dirty="0"/>
              <a:t>LANDSTRØM</a:t>
            </a:r>
          </a:p>
        </p:txBody>
      </p:sp>
    </p:spTree>
    <p:extLst>
      <p:ext uri="{BB962C8B-B14F-4D97-AF65-F5344CB8AC3E}">
        <p14:creationId xmlns:p14="http://schemas.microsoft.com/office/powerpoint/2010/main" val="5724934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C298308-DC70-4CD4-9061-19967456B3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AIFRON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BAD2A56-836F-4DC8-9880-5E503E48D89C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3774" y="1816608"/>
            <a:ext cx="10363826" cy="3974591"/>
          </a:xfrm>
        </p:spPr>
        <p:txBody>
          <a:bodyPr/>
          <a:lstStyle/>
          <a:p>
            <a:r>
              <a:rPr lang="nb-NO" dirty="0"/>
              <a:t>BEHOLDE OG OPPGRADERE DAGENS DAMPSKIPSKAI</a:t>
            </a:r>
          </a:p>
          <a:p>
            <a:pPr lvl="1"/>
            <a:r>
              <a:rPr lang="nb-NO" dirty="0"/>
              <a:t>Dagens aktivitet og begrensninger (</a:t>
            </a:r>
            <a:r>
              <a:rPr lang="nb-NO" dirty="0" err="1"/>
              <a:t>ca</a:t>
            </a:r>
            <a:r>
              <a:rPr lang="nb-NO" dirty="0"/>
              <a:t> 120+80 meter)</a:t>
            </a:r>
          </a:p>
          <a:p>
            <a:r>
              <a:rPr lang="nb-NO" dirty="0" err="1"/>
              <a:t>Ca</a:t>
            </a:r>
            <a:r>
              <a:rPr lang="nb-NO" dirty="0"/>
              <a:t> 350 meter ny kaifront er mulig PÅ REVNES</a:t>
            </a:r>
          </a:p>
          <a:p>
            <a:pPr lvl="1"/>
            <a:r>
              <a:rPr lang="nb-NO" dirty="0"/>
              <a:t>Stort </a:t>
            </a:r>
            <a:r>
              <a:rPr lang="nb-NO" dirty="0" err="1"/>
              <a:t>bakareal</a:t>
            </a:r>
            <a:r>
              <a:rPr lang="nb-NO" dirty="0"/>
              <a:t> (70.000 m2)</a:t>
            </a:r>
          </a:p>
          <a:p>
            <a:pPr lvl="1"/>
            <a:r>
              <a:rPr lang="nb-NO" dirty="0"/>
              <a:t>Muligheter for nyetableringer som krever kaikant</a:t>
            </a:r>
          </a:p>
          <a:p>
            <a:r>
              <a:rPr lang="nb-NO" dirty="0" err="1"/>
              <a:t>Ca</a:t>
            </a:r>
            <a:r>
              <a:rPr lang="nb-NO" dirty="0"/>
              <a:t> 150 meter ny kaifront på VARNES (MOT SENTRUM)</a:t>
            </a:r>
          </a:p>
          <a:p>
            <a:pPr lvl="1"/>
            <a:r>
              <a:rPr lang="nb-NO" dirty="0"/>
              <a:t>Dersom Kystruta må flyttes</a:t>
            </a:r>
          </a:p>
        </p:txBody>
      </p:sp>
    </p:spTree>
    <p:extLst>
      <p:ext uri="{BB962C8B-B14F-4D97-AF65-F5344CB8AC3E}">
        <p14:creationId xmlns:p14="http://schemas.microsoft.com/office/powerpoint/2010/main" val="133130822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C63DF7-0FA1-436E-9AC4-E796FEDAA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N MEST MILJØVENNLIGE HAVNA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9104FEB-B8A6-41B9-B568-39DBD9DDE151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913774" y="1908048"/>
            <a:ext cx="10363826" cy="3883151"/>
          </a:xfrm>
        </p:spPr>
        <p:txBody>
          <a:bodyPr/>
          <a:lstStyle/>
          <a:p>
            <a:r>
              <a:rPr lang="nb-NO" dirty="0"/>
              <a:t>Utnytte overskuddsmasser fra BIP</a:t>
            </a:r>
          </a:p>
          <a:p>
            <a:r>
              <a:rPr lang="nb-NO" dirty="0"/>
              <a:t>DEPO for evt. forurensa masse fra utdyping</a:t>
            </a:r>
          </a:p>
          <a:p>
            <a:r>
              <a:rPr lang="nb-NO" dirty="0"/>
              <a:t>BUNKRING AV H2/NH3</a:t>
            </a:r>
          </a:p>
          <a:p>
            <a:r>
              <a:rPr lang="nb-NO" dirty="0"/>
              <a:t>LANDSTRØM</a:t>
            </a:r>
          </a:p>
          <a:p>
            <a:r>
              <a:rPr lang="nb-NO" dirty="0"/>
              <a:t>SNØFRIE KAIER ved bruk av overskuddsvarme</a:t>
            </a:r>
          </a:p>
          <a:p>
            <a:r>
              <a:rPr lang="nb-NO" dirty="0"/>
              <a:t>KRANER, TRUCKER, HJULLASTERE, BILER ETC PÅ H2/NH3/STRØM</a:t>
            </a:r>
          </a:p>
          <a:p>
            <a:r>
              <a:rPr lang="nb-NO" dirty="0"/>
              <a:t>STILLE KRAV TIL ALLE AKTØRER I HAVNA</a:t>
            </a:r>
          </a:p>
        </p:txBody>
      </p:sp>
    </p:spTree>
    <p:extLst>
      <p:ext uri="{BB962C8B-B14F-4D97-AF65-F5344CB8AC3E}">
        <p14:creationId xmlns:p14="http://schemas.microsoft.com/office/powerpoint/2010/main" val="3478305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46B5FD6C-BC24-499C-A8D4-E27756ADAF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8725"/>
            <a:ext cx="12192000" cy="6540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343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E69CAD-79DE-408F-A739-F2E783C31B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 BERLEVÅG HAVN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6BD9076-9A33-434C-9DA1-CD897E142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8" name="Plassholder for innhold 7" descr="Et bilde som inneholder tekst&#10;&#10;Automatisk generert beskrivelse">
            <a:extLst>
              <a:ext uri="{FF2B5EF4-FFF2-40B4-BE49-F238E27FC236}">
                <a16:creationId xmlns:a16="http://schemas.microsoft.com/office/drawing/2014/main" id="{AC19391F-9D7C-4B12-BF82-DA902DD65518}"/>
              </a:ext>
            </a:extLst>
          </p:cNvPr>
          <p:cNvPicPr>
            <a:picLocks noGrp="1" noChangeAspect="1"/>
          </p:cNvPicPr>
          <p:nvPr>
            <p:ph sz="quarter" idx="13"/>
          </p:nvPr>
        </p:nvPicPr>
        <p:blipFill>
          <a:blip r:embed="rId2"/>
          <a:stretch>
            <a:fillRect/>
          </a:stretch>
        </p:blipFill>
        <p:spPr>
          <a:xfrm>
            <a:off x="1348232" y="2606167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824DBB0-E654-40E4-8314-E535FC73A9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" name="Plassholder for innhold 9" descr="Et bilde som inneholder tekst&#10;&#10;Automatisk generert beskrivelse">
            <a:extLst>
              <a:ext uri="{FF2B5EF4-FFF2-40B4-BE49-F238E27FC236}">
                <a16:creationId xmlns:a16="http://schemas.microsoft.com/office/drawing/2014/main" id="{F53C961F-AC4B-436E-84EC-9FFA6C9E421D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3"/>
          <a:stretch>
            <a:fillRect/>
          </a:stretch>
        </p:blipFill>
        <p:spPr>
          <a:xfrm>
            <a:off x="6581648" y="2606166"/>
            <a:ext cx="4384040" cy="2740025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224283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åpe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5[[fn=Dråpe]]</Template>
  <TotalTime>1936</TotalTime>
  <Words>491</Words>
  <Application>Microsoft Office PowerPoint</Application>
  <PresentationFormat>Widescreen</PresentationFormat>
  <Paragraphs>116</Paragraphs>
  <Slides>14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0" baseType="lpstr">
      <vt:lpstr>Arial</vt:lpstr>
      <vt:lpstr>Calibri</vt:lpstr>
      <vt:lpstr>Lato Black</vt:lpstr>
      <vt:lpstr>Tw Cen MT</vt:lpstr>
      <vt:lpstr>Dråpe</vt:lpstr>
      <vt:lpstr>think-cell Slide</vt:lpstr>
      <vt:lpstr>BERLEVÅG HAVN</vt:lpstr>
      <vt:lpstr>BERLEVÅG HAVN KF</vt:lpstr>
      <vt:lpstr>PowerPoint-presentasjon</vt:lpstr>
      <vt:lpstr>NY HAVN FOR Hvem ??</vt:lpstr>
      <vt:lpstr>UTBYGGING HAVN</vt:lpstr>
      <vt:lpstr>KAIFRONTER</vt:lpstr>
      <vt:lpstr>DEN MEST MILJØVENNLIGE HAVNA </vt:lpstr>
      <vt:lpstr>PowerPoint-presentasjon</vt:lpstr>
      <vt:lpstr>NY BERLEVÅG HAVN</vt:lpstr>
      <vt:lpstr>NY BERLEVÅG HAVN</vt:lpstr>
      <vt:lpstr>NY BERLEVÅG HAVN</vt:lpstr>
      <vt:lpstr>NY BERLEVÅG HAVN</vt:lpstr>
      <vt:lpstr>BERLEVÅG NYE HAVN</vt:lpstr>
      <vt:lpstr>TAKK FOR OPPMERKSOMHE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ERLEVÅG HAVN KF</dc:title>
  <dc:creator>Bjørn Tore Sjåstad</dc:creator>
  <cp:lastModifiedBy>Siv Efraimsen</cp:lastModifiedBy>
  <cp:revision>4</cp:revision>
  <dcterms:created xsi:type="dcterms:W3CDTF">2021-09-06T16:16:44Z</dcterms:created>
  <dcterms:modified xsi:type="dcterms:W3CDTF">2021-10-15T04:54:39Z</dcterms:modified>
</cp:coreProperties>
</file>